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</p:sldMasterIdLst>
  <p:notesMasterIdLst>
    <p:notesMasterId r:id="rId5"/>
  </p:notesMasterIdLst>
  <p:handoutMasterIdLst>
    <p:handoutMasterId r:id="rId6"/>
  </p:handoutMasterIdLst>
  <p:sldIdLst>
    <p:sldId id="297" r:id="rId2"/>
    <p:sldId id="294" r:id="rId3"/>
    <p:sldId id="286" r:id="rId4"/>
  </p:sldIdLst>
  <p:sldSz cx="12192000" cy="6858000"/>
  <p:notesSz cx="6797675" cy="9926638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te Lindgaard" initials="ML" lastIdx="7" clrIdx="0">
    <p:extLst>
      <p:ext uri="{19B8F6BF-5375-455C-9EA6-DF929625EA0E}">
        <p15:presenceInfo xmlns:p15="http://schemas.microsoft.com/office/powerpoint/2012/main" userId="S::mette.lindgaard@pwc.com::1cd99bfc-1bec-4852-8c66-236906efa99a" providerId="AD"/>
      </p:ext>
    </p:extLst>
  </p:cmAuthor>
  <p:cmAuthor id="2" name="Stinne Tangsig" initials="ST" lastIdx="8" clrIdx="1">
    <p:extLst>
      <p:ext uri="{19B8F6BF-5375-455C-9EA6-DF929625EA0E}">
        <p15:presenceInfo xmlns:p15="http://schemas.microsoft.com/office/powerpoint/2012/main" userId="S::stinne.tangsig@pwc.com::983d8263-ca10-442a-af1c-c6d05859a78c" providerId="AD"/>
      </p:ext>
    </p:extLst>
  </p:cmAuthor>
  <p:cmAuthor id="3" name="Lea Grønfeldt (DK)" initials="LG(" lastIdx="1" clrIdx="2">
    <p:extLst>
      <p:ext uri="{19B8F6BF-5375-455C-9EA6-DF929625EA0E}">
        <p15:presenceInfo xmlns:p15="http://schemas.microsoft.com/office/powerpoint/2012/main" userId="S::lea.gronfeldt@pwc.com::a5ef6d92-98f5-417e-b982-0970424ee101" providerId="AD"/>
      </p:ext>
    </p:extLst>
  </p:cmAuthor>
  <p:cmAuthor id="4" name="Helle Nyhuus" initials="HN" lastIdx="4" clrIdx="3">
    <p:extLst>
      <p:ext uri="{19B8F6BF-5375-455C-9EA6-DF929625EA0E}">
        <p15:presenceInfo xmlns:p15="http://schemas.microsoft.com/office/powerpoint/2012/main" userId="S-1-5-21-2100284113-1573851820-878952375-188628" providerId="AD"/>
      </p:ext>
    </p:extLst>
  </p:cmAuthor>
  <p:cmAuthor id="5" name="Dorthe Bevensee" initials="DB" lastIdx="3" clrIdx="4">
    <p:extLst>
      <p:ext uri="{19B8F6BF-5375-455C-9EA6-DF929625EA0E}">
        <p15:presenceInfo xmlns:p15="http://schemas.microsoft.com/office/powerpoint/2012/main" userId="S-1-5-21-2100284113-1573851820-878952375-18869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DDF2"/>
    <a:srgbClr val="2E526F"/>
    <a:srgbClr val="2F520B"/>
    <a:srgbClr val="FFFFFF"/>
    <a:srgbClr val="6C87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628" autoAdjust="0"/>
    <p:restoredTop sz="89186" autoAdjust="0"/>
  </p:normalViewPr>
  <p:slideViewPr>
    <p:cSldViewPr snapToGrid="0" snapToObjects="1" showGuides="1">
      <p:cViewPr varScale="1">
        <p:scale>
          <a:sx n="164" d="100"/>
          <a:sy n="164" d="100"/>
        </p:scale>
        <p:origin x="594" y="13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384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/24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US" smtClean="0"/>
              <a:t>1/2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8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7898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94463243-E68D-7BDF-4ECA-C7BC0E7C0D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 l="14" r="14"/>
          <a:stretch/>
        </p:blipFill>
        <p:spPr bwMode="auto">
          <a:xfrm>
            <a:off x="0" y="-16934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CAC1B8DC-30C2-FA32-F496-1AB7D1D912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5835601"/>
            <a:ext cx="12204000" cy="1258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53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D45A1838-39A0-8B9E-8FF2-A6A244EEB3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5835601"/>
            <a:ext cx="12204000" cy="1258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767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3D8367-FCB6-4373-AC2E-EEDA0AF1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0587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0382D97-ECCA-436F-8C3D-A3CE6DFD1A1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March 2019</a:t>
            </a:r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3" pos="3953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pos="2726" userDrawn="1">
          <p15:clr>
            <a:srgbClr val="F26B43"/>
          </p15:clr>
        </p15:guide>
        <p15:guide id="7" pos="2502" userDrawn="1">
          <p15:clr>
            <a:srgbClr val="F26B43"/>
          </p15:clr>
        </p15:guide>
        <p15:guide id="8" pos="4952" userDrawn="1">
          <p15:clr>
            <a:srgbClr val="F26B43"/>
          </p15:clr>
        </p15:guide>
        <p15:guide id="9" pos="5177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1" orient="horz" pos="1325" userDrawn="1">
          <p15:clr>
            <a:srgbClr val="F26B43"/>
          </p15:clr>
        </p15:guide>
        <p15:guide id="12" orient="horz" pos="1146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D234D8A4-0C99-4ADF-8890-BE91DA159B0C}"/>
              </a:ext>
            </a:extLst>
          </p:cNvPr>
          <p:cNvSpPr txBox="1"/>
          <p:nvPr/>
        </p:nvSpPr>
        <p:spPr>
          <a:xfrm>
            <a:off x="1775520" y="593630"/>
            <a:ext cx="8644467" cy="93325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743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6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ormationspjece om læringsforløb for unge med autis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0DBB61-4166-4029-A6AD-8C75F9524B77}"/>
              </a:ext>
            </a:extLst>
          </p:cNvPr>
          <p:cNvSpPr txBox="1"/>
          <p:nvPr/>
        </p:nvSpPr>
        <p:spPr>
          <a:xfrm>
            <a:off x="422970" y="4322494"/>
            <a:ext cx="27051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rPr>
              <a:t>INDSÆT KOMMUNELOG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DFA9C7-5B8F-4563-977D-0B1F707126A1}"/>
              </a:ext>
            </a:extLst>
          </p:cNvPr>
          <p:cNvSpPr txBox="1"/>
          <p:nvPr/>
        </p:nvSpPr>
        <p:spPr>
          <a:xfrm>
            <a:off x="4195839" y="2055133"/>
            <a:ext cx="38003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Aft>
                <a:spcPts val="600"/>
              </a:spcAft>
              <a:buSzPct val="100000"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SÆT KOMMUNENAVN</a:t>
            </a:r>
          </a:p>
        </p:txBody>
      </p:sp>
    </p:spTree>
    <p:extLst>
      <p:ext uri="{BB962C8B-B14F-4D97-AF65-F5344CB8AC3E}">
        <p14:creationId xmlns:p14="http://schemas.microsoft.com/office/powerpoint/2010/main" val="3825483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7">
            <a:extLst>
              <a:ext uri="{FF2B5EF4-FFF2-40B4-BE49-F238E27FC236}">
                <a16:creationId xmlns:a16="http://schemas.microsoft.com/office/drawing/2014/main" id="{0C78D4B3-8F8C-A236-CA6A-3D4E7F1942CC}"/>
              </a:ext>
            </a:extLst>
          </p:cNvPr>
          <p:cNvSpPr/>
          <p:nvPr/>
        </p:nvSpPr>
        <p:spPr>
          <a:xfrm>
            <a:off x="6114154" y="89991"/>
            <a:ext cx="5993308" cy="6016884"/>
          </a:xfrm>
          <a:prstGeom prst="rect">
            <a:avLst/>
          </a:prstGeom>
          <a:solidFill>
            <a:srgbClr val="2E526F">
              <a:alpha val="81961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452C90-E4D0-475F-B37C-70BB029C415E}"/>
              </a:ext>
            </a:extLst>
          </p:cNvPr>
          <p:cNvSpPr txBox="1"/>
          <p:nvPr/>
        </p:nvSpPr>
        <p:spPr>
          <a:xfrm>
            <a:off x="7531766" y="547215"/>
            <a:ext cx="3621132" cy="60995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da-DK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4F2460-87E2-4107-AC52-3A0F5DFB5D35}"/>
              </a:ext>
            </a:extLst>
          </p:cNvPr>
          <p:cNvSpPr txBox="1"/>
          <p:nvPr/>
        </p:nvSpPr>
        <p:spPr>
          <a:xfrm>
            <a:off x="6518984" y="1306934"/>
            <a:ext cx="5126082" cy="26161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et giver dig viden og redskaber til at mestre hverdagen og opnå de ønsker, du har for fremtiden. Gruppeforløbet har fokus på forskellige temaer, herunder: netværk, kommunikation, sociale færdigheder og samarbejde samt hverdagslivet og selvbestemmelse. 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gruppeforløbet møder du andre unge i samme situation som dig. Inden gruppeforløbet starter, mødes du også med gruppevejlederen, evt. sammen med din støtteperson, så du er informeret godt om forløbet.</a:t>
            </a:r>
          </a:p>
          <a:p>
            <a:pPr>
              <a:lnSpc>
                <a:spcPct val="100000"/>
              </a:lnSpc>
              <a:buSzPct val="100000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et består af 10 moduler: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4C6775-FD08-4106-9C7A-C900CED03CAC}"/>
              </a:ext>
            </a:extLst>
          </p:cNvPr>
          <p:cNvSpPr/>
          <p:nvPr/>
        </p:nvSpPr>
        <p:spPr>
          <a:xfrm>
            <a:off x="91614" y="93134"/>
            <a:ext cx="5959611" cy="6019801"/>
          </a:xfrm>
          <a:prstGeom prst="rect">
            <a:avLst/>
          </a:prstGeom>
          <a:solidFill>
            <a:srgbClr val="CCDDF2">
              <a:alpha val="81961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54F1E8-B68D-44B6-885D-134EC812B0E5}"/>
              </a:ext>
            </a:extLst>
          </p:cNvPr>
          <p:cNvSpPr txBox="1"/>
          <p:nvPr/>
        </p:nvSpPr>
        <p:spPr>
          <a:xfrm>
            <a:off x="1630603" y="611641"/>
            <a:ext cx="3621132" cy="54552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da-DK" sz="3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æringsforløb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5CED55-1B8E-4653-8BF4-D09C42237C30}"/>
              </a:ext>
            </a:extLst>
          </p:cNvPr>
          <p:cNvSpPr txBox="1"/>
          <p:nvPr/>
        </p:nvSpPr>
        <p:spPr>
          <a:xfrm>
            <a:off x="474133" y="1306934"/>
            <a:ext cx="5257501" cy="46320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Din kommune gennemfører et læringsforløb, som kan støtte dig, der er ung med autisme, i at komme godt ind i dit voksenliv og opnå dine drømme, mål og ønsker. </a:t>
            </a:r>
            <a:b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Læringsforløbet er for unge med autisme, som bor hos deres forældre eller i egen bolig. </a:t>
            </a:r>
            <a:r>
              <a:rPr lang="da-DK" sz="1500" dirty="0">
                <a:cs typeface="Arial" panose="020B0604020202020204" pitchFamily="34" charset="0"/>
              </a:rPr>
              <a:t>Hele forløbet varer ca. fem måneder, </a:t>
            </a:r>
            <a:r>
              <a:rPr lang="da-DK" sz="1500" dirty="0">
                <a:effectLst/>
              </a:rPr>
              <a:t>herunder varer gruppeforløbet 16 uger og der er et booster-modul efter 2 måneder</a:t>
            </a:r>
            <a:r>
              <a:rPr lang="da-DK" sz="1500" dirty="0"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b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Læringsforløbet indebærer, at: </a:t>
            </a:r>
            <a:b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a-DK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Vi sammen afdækker dine drømme og ønsker for fremtiden, og hvad du har brug for hjælp til. 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Vi sammen laver en handleplan. 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Du får en støtteperson, der hjælper dig i hverdagen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500" dirty="0">
                <a:latin typeface="Arial" panose="020B0604020202020204" pitchFamily="34" charset="0"/>
                <a:cs typeface="Arial" panose="020B0604020202020204" pitchFamily="34" charset="0"/>
              </a:rPr>
              <a:t>Du deltager på et gruppeforløb, hvor du møder andre unge i samme situation som dig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3B5F9F-5DD4-4A1A-8912-78C570B76559}"/>
              </a:ext>
            </a:extLst>
          </p:cNvPr>
          <p:cNvSpPr txBox="1"/>
          <p:nvPr/>
        </p:nvSpPr>
        <p:spPr>
          <a:xfrm>
            <a:off x="6529938" y="4111459"/>
            <a:ext cx="2422964" cy="1821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kommen</a:t>
            </a:r>
          </a:p>
          <a:p>
            <a:pPr marL="342900" indent="-342900">
              <a:spcAft>
                <a:spcPts val="400"/>
              </a:spcAft>
              <a:buSzPct val="100000"/>
              <a:buFontTx/>
              <a:buAutoNum type="arabicPeriod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stå mig selv og andre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tale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flikter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ytte hjemmefra og</a:t>
            </a:r>
            <a:b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erdagen i egen boli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16619B-83F5-4BC1-9C38-45AB22BA6850}"/>
              </a:ext>
            </a:extLst>
          </p:cNvPr>
          <p:cNvSpPr txBox="1"/>
          <p:nvPr/>
        </p:nvSpPr>
        <p:spPr>
          <a:xfrm>
            <a:off x="9015831" y="4106721"/>
            <a:ext cx="2708198" cy="15901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tid, venskaber og kærester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 startAt="6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dannelse og job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 startAt="6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ligheder og rettigheder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 startAt="6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slutning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 startAt="6"/>
            </a:pPr>
            <a:r>
              <a:rPr lang="da-DK" sz="15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er (efter 2 måneder)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A682B4F2-EE96-9050-D483-8FF8F0B70EE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522043" y="369764"/>
            <a:ext cx="787400" cy="7874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3076B86E-AD5F-FE20-E418-B6921C240CD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68376" y="369764"/>
            <a:ext cx="787400" cy="787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5295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AB5A065-6CEF-4927-9E6E-79EDEF4FFD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71" t="10578" b="30911"/>
          <a:stretch/>
        </p:blipFill>
        <p:spPr>
          <a:xfrm>
            <a:off x="1123950" y="1131871"/>
            <a:ext cx="3281286" cy="264508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3DF231-6E07-4E10-A5E6-BB49E33E7AD7}"/>
              </a:ext>
            </a:extLst>
          </p:cNvPr>
          <p:cNvSpPr/>
          <p:nvPr/>
        </p:nvSpPr>
        <p:spPr>
          <a:xfrm>
            <a:off x="-30925" y="1993648"/>
            <a:ext cx="5505450" cy="2735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INDSÆT BILLEDE AF KORT, DER VISER, HVOR GRUPPEFORLØBET FOREGÅ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C50B1E-5532-41B8-99E4-69A4B6E74879}"/>
              </a:ext>
            </a:extLst>
          </p:cNvPr>
          <p:cNvSpPr/>
          <p:nvPr/>
        </p:nvSpPr>
        <p:spPr>
          <a:xfrm>
            <a:off x="6517649" y="1150407"/>
            <a:ext cx="4629150" cy="4678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 mødes:  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resse: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g 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l. X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takt os: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lefo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il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X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sonlig henvendelse: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ndag-Onsdag kl. 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rsdag kl. x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9FCB9C-C7B5-49F2-8852-2D96DE9C343A}"/>
              </a:ext>
            </a:extLst>
          </p:cNvPr>
          <p:cNvSpPr txBox="1"/>
          <p:nvPr/>
        </p:nvSpPr>
        <p:spPr>
          <a:xfrm>
            <a:off x="0" y="387049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Aft>
                <a:spcPts val="600"/>
              </a:spcAft>
              <a:buSzPct val="100000"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2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 glæder os til at se dig i gruppen!</a:t>
            </a:r>
          </a:p>
        </p:txBody>
      </p:sp>
      <p:sp>
        <p:nvSpPr>
          <p:cNvPr id="6" name="Freeform 25">
            <a:extLst>
              <a:ext uri="{FF2B5EF4-FFF2-40B4-BE49-F238E27FC236}">
                <a16:creationId xmlns:a16="http://schemas.microsoft.com/office/drawing/2014/main" id="{4763A269-9B94-40B1-8009-3DFACB35663B}"/>
              </a:ext>
            </a:extLst>
          </p:cNvPr>
          <p:cNvSpPr>
            <a:spLocks/>
          </p:cNvSpPr>
          <p:nvPr/>
        </p:nvSpPr>
        <p:spPr bwMode="auto">
          <a:xfrm>
            <a:off x="1210639" y="4114254"/>
            <a:ext cx="980895" cy="1282570"/>
          </a:xfrm>
          <a:custGeom>
            <a:avLst/>
            <a:gdLst>
              <a:gd name="T0" fmla="*/ 482 w 1086"/>
              <a:gd name="T1" fmla="*/ 0 h 1420"/>
              <a:gd name="T2" fmla="*/ 482 w 1086"/>
              <a:gd name="T3" fmla="*/ 6 h 1420"/>
              <a:gd name="T4" fmla="*/ 462 w 1086"/>
              <a:gd name="T5" fmla="*/ 36 h 1420"/>
              <a:gd name="T6" fmla="*/ 508 w 1086"/>
              <a:gd name="T7" fmla="*/ 36 h 1420"/>
              <a:gd name="T8" fmla="*/ 576 w 1086"/>
              <a:gd name="T9" fmla="*/ 34 h 1420"/>
              <a:gd name="T10" fmla="*/ 640 w 1086"/>
              <a:gd name="T11" fmla="*/ 44 h 1420"/>
              <a:gd name="T12" fmla="*/ 696 w 1086"/>
              <a:gd name="T13" fmla="*/ 72 h 1420"/>
              <a:gd name="T14" fmla="*/ 738 w 1086"/>
              <a:gd name="T15" fmla="*/ 120 h 1420"/>
              <a:gd name="T16" fmla="*/ 756 w 1086"/>
              <a:gd name="T17" fmla="*/ 164 h 1420"/>
              <a:gd name="T18" fmla="*/ 758 w 1086"/>
              <a:gd name="T19" fmla="*/ 212 h 1420"/>
              <a:gd name="T20" fmla="*/ 746 w 1086"/>
              <a:gd name="T21" fmla="*/ 270 h 1420"/>
              <a:gd name="T22" fmla="*/ 744 w 1086"/>
              <a:gd name="T23" fmla="*/ 306 h 1420"/>
              <a:gd name="T24" fmla="*/ 754 w 1086"/>
              <a:gd name="T25" fmla="*/ 378 h 1420"/>
              <a:gd name="T26" fmla="*/ 748 w 1086"/>
              <a:gd name="T27" fmla="*/ 412 h 1420"/>
              <a:gd name="T28" fmla="*/ 728 w 1086"/>
              <a:gd name="T29" fmla="*/ 436 h 1420"/>
              <a:gd name="T30" fmla="*/ 702 w 1086"/>
              <a:gd name="T31" fmla="*/ 446 h 1420"/>
              <a:gd name="T32" fmla="*/ 688 w 1086"/>
              <a:gd name="T33" fmla="*/ 518 h 1420"/>
              <a:gd name="T34" fmla="*/ 684 w 1086"/>
              <a:gd name="T35" fmla="*/ 570 h 1420"/>
              <a:gd name="T36" fmla="*/ 712 w 1086"/>
              <a:gd name="T37" fmla="*/ 606 h 1420"/>
              <a:gd name="T38" fmla="*/ 868 w 1086"/>
              <a:gd name="T39" fmla="*/ 700 h 1420"/>
              <a:gd name="T40" fmla="*/ 974 w 1086"/>
              <a:gd name="T41" fmla="*/ 770 h 1420"/>
              <a:gd name="T42" fmla="*/ 1026 w 1086"/>
              <a:gd name="T43" fmla="*/ 824 h 1420"/>
              <a:gd name="T44" fmla="*/ 1044 w 1086"/>
              <a:gd name="T45" fmla="*/ 854 h 1420"/>
              <a:gd name="T46" fmla="*/ 1066 w 1086"/>
              <a:gd name="T47" fmla="*/ 920 h 1420"/>
              <a:gd name="T48" fmla="*/ 1072 w 1086"/>
              <a:gd name="T49" fmla="*/ 1028 h 1420"/>
              <a:gd name="T50" fmla="*/ 1058 w 1086"/>
              <a:gd name="T51" fmla="*/ 1184 h 1420"/>
              <a:gd name="T52" fmla="*/ 1058 w 1086"/>
              <a:gd name="T53" fmla="*/ 1304 h 1420"/>
              <a:gd name="T54" fmla="*/ 1078 w 1086"/>
              <a:gd name="T55" fmla="*/ 1400 h 1420"/>
              <a:gd name="T56" fmla="*/ 1060 w 1086"/>
              <a:gd name="T57" fmla="*/ 1416 h 1420"/>
              <a:gd name="T58" fmla="*/ 950 w 1086"/>
              <a:gd name="T59" fmla="*/ 1420 h 1420"/>
              <a:gd name="T60" fmla="*/ 906 w 1086"/>
              <a:gd name="T61" fmla="*/ 1408 h 1420"/>
              <a:gd name="T62" fmla="*/ 894 w 1086"/>
              <a:gd name="T63" fmla="*/ 1394 h 1420"/>
              <a:gd name="T64" fmla="*/ 882 w 1086"/>
              <a:gd name="T65" fmla="*/ 1398 h 1420"/>
              <a:gd name="T66" fmla="*/ 880 w 1086"/>
              <a:gd name="T67" fmla="*/ 1418 h 1420"/>
              <a:gd name="T68" fmla="*/ 216 w 1086"/>
              <a:gd name="T69" fmla="*/ 1418 h 1420"/>
              <a:gd name="T70" fmla="*/ 216 w 1086"/>
              <a:gd name="T71" fmla="*/ 1384 h 1420"/>
              <a:gd name="T72" fmla="*/ 210 w 1086"/>
              <a:gd name="T73" fmla="*/ 1358 h 1420"/>
              <a:gd name="T74" fmla="*/ 198 w 1086"/>
              <a:gd name="T75" fmla="*/ 1366 h 1420"/>
              <a:gd name="T76" fmla="*/ 190 w 1086"/>
              <a:gd name="T77" fmla="*/ 1400 h 1420"/>
              <a:gd name="T78" fmla="*/ 0 w 1086"/>
              <a:gd name="T79" fmla="*/ 1418 h 1420"/>
              <a:gd name="T80" fmla="*/ 22 w 1086"/>
              <a:gd name="T81" fmla="*/ 1356 h 1420"/>
              <a:gd name="T82" fmla="*/ 32 w 1086"/>
              <a:gd name="T83" fmla="*/ 1248 h 1420"/>
              <a:gd name="T84" fmla="*/ 22 w 1086"/>
              <a:gd name="T85" fmla="*/ 1056 h 1420"/>
              <a:gd name="T86" fmla="*/ 20 w 1086"/>
              <a:gd name="T87" fmla="*/ 914 h 1420"/>
              <a:gd name="T88" fmla="*/ 30 w 1086"/>
              <a:gd name="T89" fmla="*/ 854 h 1420"/>
              <a:gd name="T90" fmla="*/ 54 w 1086"/>
              <a:gd name="T91" fmla="*/ 806 h 1420"/>
              <a:gd name="T92" fmla="*/ 92 w 1086"/>
              <a:gd name="T93" fmla="*/ 768 h 1420"/>
              <a:gd name="T94" fmla="*/ 156 w 1086"/>
              <a:gd name="T95" fmla="*/ 732 h 1420"/>
              <a:gd name="T96" fmla="*/ 264 w 1086"/>
              <a:gd name="T97" fmla="*/ 686 h 1420"/>
              <a:gd name="T98" fmla="*/ 340 w 1086"/>
              <a:gd name="T99" fmla="*/ 640 h 1420"/>
              <a:gd name="T100" fmla="*/ 400 w 1086"/>
              <a:gd name="T101" fmla="*/ 612 h 1420"/>
              <a:gd name="T102" fmla="*/ 416 w 1086"/>
              <a:gd name="T103" fmla="*/ 552 h 1420"/>
              <a:gd name="T104" fmla="*/ 394 w 1086"/>
              <a:gd name="T105" fmla="*/ 484 h 1420"/>
              <a:gd name="T106" fmla="*/ 354 w 1086"/>
              <a:gd name="T107" fmla="*/ 434 h 1420"/>
              <a:gd name="T108" fmla="*/ 326 w 1086"/>
              <a:gd name="T109" fmla="*/ 280 h 1420"/>
              <a:gd name="T110" fmla="*/ 324 w 1086"/>
              <a:gd name="T111" fmla="*/ 214 h 1420"/>
              <a:gd name="T112" fmla="*/ 336 w 1086"/>
              <a:gd name="T113" fmla="*/ 152 h 1420"/>
              <a:gd name="T114" fmla="*/ 368 w 1086"/>
              <a:gd name="T115" fmla="*/ 94 h 1420"/>
              <a:gd name="T116" fmla="*/ 392 w 1086"/>
              <a:gd name="T117" fmla="*/ 74 h 1420"/>
              <a:gd name="T118" fmla="*/ 424 w 1086"/>
              <a:gd name="T119" fmla="*/ 68 h 1420"/>
              <a:gd name="T120" fmla="*/ 438 w 1086"/>
              <a:gd name="T121" fmla="*/ 68 h 1420"/>
              <a:gd name="T122" fmla="*/ 458 w 1086"/>
              <a:gd name="T123" fmla="*/ 36 h 1420"/>
              <a:gd name="T124" fmla="*/ 474 w 1086"/>
              <a:gd name="T125" fmla="*/ 2 h 1420"/>
              <a:gd name="connsiteX0" fmla="*/ 4365 w 10000"/>
              <a:gd name="connsiteY0" fmla="*/ 14 h 10000"/>
              <a:gd name="connsiteX1" fmla="*/ 4365 w 10000"/>
              <a:gd name="connsiteY1" fmla="*/ 14 h 10000"/>
              <a:gd name="connsiteX2" fmla="*/ 4438 w 10000"/>
              <a:gd name="connsiteY2" fmla="*/ 0 h 10000"/>
              <a:gd name="connsiteX3" fmla="*/ 4457 w 10000"/>
              <a:gd name="connsiteY3" fmla="*/ 0 h 10000"/>
              <a:gd name="connsiteX4" fmla="*/ 4457 w 10000"/>
              <a:gd name="connsiteY4" fmla="*/ 14 h 10000"/>
              <a:gd name="connsiteX5" fmla="*/ 4438 w 10000"/>
              <a:gd name="connsiteY5" fmla="*/ 42 h 10000"/>
              <a:gd name="connsiteX6" fmla="*/ 4401 w 10000"/>
              <a:gd name="connsiteY6" fmla="*/ 85 h 10000"/>
              <a:gd name="connsiteX7" fmla="*/ 4291 w 10000"/>
              <a:gd name="connsiteY7" fmla="*/ 197 h 10000"/>
              <a:gd name="connsiteX8" fmla="*/ 4254 w 10000"/>
              <a:gd name="connsiteY8" fmla="*/ 254 h 10000"/>
              <a:gd name="connsiteX9" fmla="*/ 4254 w 10000"/>
              <a:gd name="connsiteY9" fmla="*/ 310 h 10000"/>
              <a:gd name="connsiteX10" fmla="*/ 4254 w 10000"/>
              <a:gd name="connsiteY10" fmla="*/ 310 h 10000"/>
              <a:gd name="connsiteX11" fmla="*/ 4678 w 10000"/>
              <a:gd name="connsiteY11" fmla="*/ 254 h 10000"/>
              <a:gd name="connsiteX12" fmla="*/ 4880 w 10000"/>
              <a:gd name="connsiteY12" fmla="*/ 239 h 10000"/>
              <a:gd name="connsiteX13" fmla="*/ 5083 w 10000"/>
              <a:gd name="connsiteY13" fmla="*/ 239 h 10000"/>
              <a:gd name="connsiteX14" fmla="*/ 5304 w 10000"/>
              <a:gd name="connsiteY14" fmla="*/ 239 h 10000"/>
              <a:gd name="connsiteX15" fmla="*/ 5506 w 10000"/>
              <a:gd name="connsiteY15" fmla="*/ 254 h 10000"/>
              <a:gd name="connsiteX16" fmla="*/ 5709 w 10000"/>
              <a:gd name="connsiteY16" fmla="*/ 282 h 10000"/>
              <a:gd name="connsiteX17" fmla="*/ 5893 w 10000"/>
              <a:gd name="connsiteY17" fmla="*/ 310 h 10000"/>
              <a:gd name="connsiteX18" fmla="*/ 6077 w 10000"/>
              <a:gd name="connsiteY18" fmla="*/ 366 h 10000"/>
              <a:gd name="connsiteX19" fmla="*/ 6243 w 10000"/>
              <a:gd name="connsiteY19" fmla="*/ 437 h 10000"/>
              <a:gd name="connsiteX20" fmla="*/ 6409 w 10000"/>
              <a:gd name="connsiteY20" fmla="*/ 507 h 10000"/>
              <a:gd name="connsiteX21" fmla="*/ 6556 w 10000"/>
              <a:gd name="connsiteY21" fmla="*/ 606 h 10000"/>
              <a:gd name="connsiteX22" fmla="*/ 6685 w 10000"/>
              <a:gd name="connsiteY22" fmla="*/ 718 h 10000"/>
              <a:gd name="connsiteX23" fmla="*/ 6796 w 10000"/>
              <a:gd name="connsiteY23" fmla="*/ 845 h 10000"/>
              <a:gd name="connsiteX24" fmla="*/ 6888 w 10000"/>
              <a:gd name="connsiteY24" fmla="*/ 986 h 10000"/>
              <a:gd name="connsiteX25" fmla="*/ 6961 w 10000"/>
              <a:gd name="connsiteY25" fmla="*/ 1155 h 10000"/>
              <a:gd name="connsiteX26" fmla="*/ 6961 w 10000"/>
              <a:gd name="connsiteY26" fmla="*/ 1155 h 10000"/>
              <a:gd name="connsiteX27" fmla="*/ 6980 w 10000"/>
              <a:gd name="connsiteY27" fmla="*/ 1268 h 10000"/>
              <a:gd name="connsiteX28" fmla="*/ 6998 w 10000"/>
              <a:gd name="connsiteY28" fmla="*/ 1380 h 10000"/>
              <a:gd name="connsiteX29" fmla="*/ 6980 w 10000"/>
              <a:gd name="connsiteY29" fmla="*/ 1493 h 10000"/>
              <a:gd name="connsiteX30" fmla="*/ 6961 w 10000"/>
              <a:gd name="connsiteY30" fmla="*/ 1606 h 10000"/>
              <a:gd name="connsiteX31" fmla="*/ 6888 w 10000"/>
              <a:gd name="connsiteY31" fmla="*/ 1803 h 10000"/>
              <a:gd name="connsiteX32" fmla="*/ 6869 w 10000"/>
              <a:gd name="connsiteY32" fmla="*/ 1901 h 10000"/>
              <a:gd name="connsiteX33" fmla="*/ 6851 w 10000"/>
              <a:gd name="connsiteY33" fmla="*/ 2000 h 10000"/>
              <a:gd name="connsiteX34" fmla="*/ 6851 w 10000"/>
              <a:gd name="connsiteY34" fmla="*/ 2000 h 10000"/>
              <a:gd name="connsiteX35" fmla="*/ 6851 w 10000"/>
              <a:gd name="connsiteY35" fmla="*/ 2155 h 10000"/>
              <a:gd name="connsiteX36" fmla="*/ 6888 w 10000"/>
              <a:gd name="connsiteY36" fmla="*/ 2310 h 10000"/>
              <a:gd name="connsiteX37" fmla="*/ 6924 w 10000"/>
              <a:gd name="connsiteY37" fmla="*/ 2493 h 10000"/>
              <a:gd name="connsiteX38" fmla="*/ 6943 w 10000"/>
              <a:gd name="connsiteY38" fmla="*/ 2662 h 10000"/>
              <a:gd name="connsiteX39" fmla="*/ 6924 w 10000"/>
              <a:gd name="connsiteY39" fmla="*/ 2746 h 10000"/>
              <a:gd name="connsiteX40" fmla="*/ 6906 w 10000"/>
              <a:gd name="connsiteY40" fmla="*/ 2831 h 10000"/>
              <a:gd name="connsiteX41" fmla="*/ 6888 w 10000"/>
              <a:gd name="connsiteY41" fmla="*/ 2901 h 10000"/>
              <a:gd name="connsiteX42" fmla="*/ 6851 w 10000"/>
              <a:gd name="connsiteY42" fmla="*/ 2972 h 10000"/>
              <a:gd name="connsiteX43" fmla="*/ 6777 w 10000"/>
              <a:gd name="connsiteY43" fmla="*/ 3028 h 10000"/>
              <a:gd name="connsiteX44" fmla="*/ 6703 w 10000"/>
              <a:gd name="connsiteY44" fmla="*/ 3070 h 10000"/>
              <a:gd name="connsiteX45" fmla="*/ 6593 w 10000"/>
              <a:gd name="connsiteY45" fmla="*/ 3113 h 10000"/>
              <a:gd name="connsiteX46" fmla="*/ 6464 w 10000"/>
              <a:gd name="connsiteY46" fmla="*/ 3141 h 10000"/>
              <a:gd name="connsiteX47" fmla="*/ 6464 w 10000"/>
              <a:gd name="connsiteY47" fmla="*/ 3141 h 10000"/>
              <a:gd name="connsiteX48" fmla="*/ 6464 w 10000"/>
              <a:gd name="connsiteY48" fmla="*/ 3268 h 10000"/>
              <a:gd name="connsiteX49" fmla="*/ 6427 w 10000"/>
              <a:gd name="connsiteY49" fmla="*/ 3394 h 10000"/>
              <a:gd name="connsiteX50" fmla="*/ 6335 w 10000"/>
              <a:gd name="connsiteY50" fmla="*/ 3648 h 10000"/>
              <a:gd name="connsiteX51" fmla="*/ 6298 w 10000"/>
              <a:gd name="connsiteY51" fmla="*/ 3775 h 10000"/>
              <a:gd name="connsiteX52" fmla="*/ 6280 w 10000"/>
              <a:gd name="connsiteY52" fmla="*/ 3887 h 10000"/>
              <a:gd name="connsiteX53" fmla="*/ 6298 w 10000"/>
              <a:gd name="connsiteY53" fmla="*/ 4014 h 10000"/>
              <a:gd name="connsiteX54" fmla="*/ 6354 w 10000"/>
              <a:gd name="connsiteY54" fmla="*/ 4155 h 10000"/>
              <a:gd name="connsiteX55" fmla="*/ 6354 w 10000"/>
              <a:gd name="connsiteY55" fmla="*/ 4155 h 10000"/>
              <a:gd name="connsiteX56" fmla="*/ 6556 w 10000"/>
              <a:gd name="connsiteY56" fmla="*/ 4268 h 10000"/>
              <a:gd name="connsiteX57" fmla="*/ 6740 w 10000"/>
              <a:gd name="connsiteY57" fmla="*/ 4380 h 10000"/>
              <a:gd name="connsiteX58" fmla="*/ 7164 w 10000"/>
              <a:gd name="connsiteY58" fmla="*/ 4577 h 10000"/>
              <a:gd name="connsiteX59" fmla="*/ 7993 w 10000"/>
              <a:gd name="connsiteY59" fmla="*/ 4930 h 10000"/>
              <a:gd name="connsiteX60" fmla="*/ 8398 w 10000"/>
              <a:gd name="connsiteY60" fmla="*/ 5113 h 10000"/>
              <a:gd name="connsiteX61" fmla="*/ 8785 w 10000"/>
              <a:gd name="connsiteY61" fmla="*/ 5310 h 10000"/>
              <a:gd name="connsiteX62" fmla="*/ 8969 w 10000"/>
              <a:gd name="connsiteY62" fmla="*/ 5423 h 10000"/>
              <a:gd name="connsiteX63" fmla="*/ 9134 w 10000"/>
              <a:gd name="connsiteY63" fmla="*/ 5535 h 10000"/>
              <a:gd name="connsiteX64" fmla="*/ 9300 w 10000"/>
              <a:gd name="connsiteY64" fmla="*/ 5662 h 10000"/>
              <a:gd name="connsiteX65" fmla="*/ 9448 w 10000"/>
              <a:gd name="connsiteY65" fmla="*/ 5803 h 10000"/>
              <a:gd name="connsiteX66" fmla="*/ 9448 w 10000"/>
              <a:gd name="connsiteY66" fmla="*/ 5803 h 10000"/>
              <a:gd name="connsiteX67" fmla="*/ 9540 w 10000"/>
              <a:gd name="connsiteY67" fmla="*/ 5901 h 10000"/>
              <a:gd name="connsiteX68" fmla="*/ 9613 w 10000"/>
              <a:gd name="connsiteY68" fmla="*/ 6014 h 10000"/>
              <a:gd name="connsiteX69" fmla="*/ 9687 w 10000"/>
              <a:gd name="connsiteY69" fmla="*/ 6127 h 10000"/>
              <a:gd name="connsiteX70" fmla="*/ 9742 w 10000"/>
              <a:gd name="connsiteY70" fmla="*/ 6239 h 10000"/>
              <a:gd name="connsiteX71" fmla="*/ 9816 w 10000"/>
              <a:gd name="connsiteY71" fmla="*/ 6479 h 10000"/>
              <a:gd name="connsiteX72" fmla="*/ 9871 w 10000"/>
              <a:gd name="connsiteY72" fmla="*/ 6718 h 10000"/>
              <a:gd name="connsiteX73" fmla="*/ 9890 w 10000"/>
              <a:gd name="connsiteY73" fmla="*/ 6972 h 10000"/>
              <a:gd name="connsiteX74" fmla="*/ 9871 w 10000"/>
              <a:gd name="connsiteY74" fmla="*/ 7239 h 10000"/>
              <a:gd name="connsiteX75" fmla="*/ 9853 w 10000"/>
              <a:gd name="connsiteY75" fmla="*/ 7507 h 10000"/>
              <a:gd name="connsiteX76" fmla="*/ 9816 w 10000"/>
              <a:gd name="connsiteY76" fmla="*/ 7789 h 10000"/>
              <a:gd name="connsiteX77" fmla="*/ 9742 w 10000"/>
              <a:gd name="connsiteY77" fmla="*/ 8338 h 10000"/>
              <a:gd name="connsiteX78" fmla="*/ 9724 w 10000"/>
              <a:gd name="connsiteY78" fmla="*/ 8620 h 10000"/>
              <a:gd name="connsiteX79" fmla="*/ 9724 w 10000"/>
              <a:gd name="connsiteY79" fmla="*/ 8901 h 10000"/>
              <a:gd name="connsiteX80" fmla="*/ 9742 w 10000"/>
              <a:gd name="connsiteY80" fmla="*/ 9183 h 10000"/>
              <a:gd name="connsiteX81" fmla="*/ 9779 w 10000"/>
              <a:gd name="connsiteY81" fmla="*/ 9451 h 10000"/>
              <a:gd name="connsiteX82" fmla="*/ 9871 w 10000"/>
              <a:gd name="connsiteY82" fmla="*/ 9718 h 10000"/>
              <a:gd name="connsiteX83" fmla="*/ 9926 w 10000"/>
              <a:gd name="connsiteY83" fmla="*/ 9859 h 10000"/>
              <a:gd name="connsiteX84" fmla="*/ 10000 w 10000"/>
              <a:gd name="connsiteY84" fmla="*/ 9986 h 10000"/>
              <a:gd name="connsiteX85" fmla="*/ 10000 w 10000"/>
              <a:gd name="connsiteY85" fmla="*/ 9986 h 10000"/>
              <a:gd name="connsiteX86" fmla="*/ 9761 w 10000"/>
              <a:gd name="connsiteY86" fmla="*/ 9972 h 10000"/>
              <a:gd name="connsiteX87" fmla="*/ 8987 w 10000"/>
              <a:gd name="connsiteY87" fmla="*/ 10000 h 10000"/>
              <a:gd name="connsiteX88" fmla="*/ 8748 w 10000"/>
              <a:gd name="connsiteY88" fmla="*/ 10000 h 10000"/>
              <a:gd name="connsiteX89" fmla="*/ 8527 w 10000"/>
              <a:gd name="connsiteY89" fmla="*/ 9972 h 10000"/>
              <a:gd name="connsiteX90" fmla="*/ 8435 w 10000"/>
              <a:gd name="connsiteY90" fmla="*/ 9958 h 10000"/>
              <a:gd name="connsiteX91" fmla="*/ 8343 w 10000"/>
              <a:gd name="connsiteY91" fmla="*/ 9915 h 10000"/>
              <a:gd name="connsiteX92" fmla="*/ 8287 w 10000"/>
              <a:gd name="connsiteY92" fmla="*/ 9873 h 10000"/>
              <a:gd name="connsiteX93" fmla="*/ 8232 w 10000"/>
              <a:gd name="connsiteY93" fmla="*/ 9817 h 10000"/>
              <a:gd name="connsiteX94" fmla="*/ 8232 w 10000"/>
              <a:gd name="connsiteY94" fmla="*/ 9817 h 10000"/>
              <a:gd name="connsiteX95" fmla="*/ 8177 w 10000"/>
              <a:gd name="connsiteY95" fmla="*/ 9803 h 10000"/>
              <a:gd name="connsiteX96" fmla="*/ 8140 w 10000"/>
              <a:gd name="connsiteY96" fmla="*/ 9817 h 10000"/>
              <a:gd name="connsiteX97" fmla="*/ 8122 w 10000"/>
              <a:gd name="connsiteY97" fmla="*/ 9845 h 10000"/>
              <a:gd name="connsiteX98" fmla="*/ 8122 w 10000"/>
              <a:gd name="connsiteY98" fmla="*/ 9887 h 10000"/>
              <a:gd name="connsiteX99" fmla="*/ 8122 w 10000"/>
              <a:gd name="connsiteY99" fmla="*/ 9958 h 10000"/>
              <a:gd name="connsiteX100" fmla="*/ 8103 w 10000"/>
              <a:gd name="connsiteY100" fmla="*/ 9986 h 10000"/>
              <a:gd name="connsiteX101" fmla="*/ 8066 w 10000"/>
              <a:gd name="connsiteY101" fmla="*/ 9986 h 10000"/>
              <a:gd name="connsiteX102" fmla="*/ 8066 w 10000"/>
              <a:gd name="connsiteY102" fmla="*/ 9986 h 10000"/>
              <a:gd name="connsiteX103" fmla="*/ 1989 w 10000"/>
              <a:gd name="connsiteY103" fmla="*/ 9986 h 10000"/>
              <a:gd name="connsiteX104" fmla="*/ 1989 w 10000"/>
              <a:gd name="connsiteY104" fmla="*/ 9986 h 10000"/>
              <a:gd name="connsiteX105" fmla="*/ 1989 w 10000"/>
              <a:gd name="connsiteY105" fmla="*/ 9873 h 10000"/>
              <a:gd name="connsiteX106" fmla="*/ 1989 w 10000"/>
              <a:gd name="connsiteY106" fmla="*/ 9746 h 10000"/>
              <a:gd name="connsiteX107" fmla="*/ 1989 w 10000"/>
              <a:gd name="connsiteY107" fmla="*/ 9648 h 10000"/>
              <a:gd name="connsiteX108" fmla="*/ 1971 w 10000"/>
              <a:gd name="connsiteY108" fmla="*/ 9606 h 10000"/>
              <a:gd name="connsiteX109" fmla="*/ 1934 w 10000"/>
              <a:gd name="connsiteY109" fmla="*/ 9563 h 10000"/>
              <a:gd name="connsiteX110" fmla="*/ 1934 w 10000"/>
              <a:gd name="connsiteY110" fmla="*/ 9563 h 10000"/>
              <a:gd name="connsiteX111" fmla="*/ 1860 w 10000"/>
              <a:gd name="connsiteY111" fmla="*/ 9592 h 10000"/>
              <a:gd name="connsiteX112" fmla="*/ 1823 w 10000"/>
              <a:gd name="connsiteY112" fmla="*/ 9620 h 10000"/>
              <a:gd name="connsiteX113" fmla="*/ 1786 w 10000"/>
              <a:gd name="connsiteY113" fmla="*/ 9676 h 10000"/>
              <a:gd name="connsiteX114" fmla="*/ 1768 w 10000"/>
              <a:gd name="connsiteY114" fmla="*/ 9732 h 10000"/>
              <a:gd name="connsiteX115" fmla="*/ 1750 w 10000"/>
              <a:gd name="connsiteY115" fmla="*/ 9859 h 10000"/>
              <a:gd name="connsiteX116" fmla="*/ 1713 w 10000"/>
              <a:gd name="connsiteY116" fmla="*/ 9986 h 10000"/>
              <a:gd name="connsiteX117" fmla="*/ 1713 w 10000"/>
              <a:gd name="connsiteY117" fmla="*/ 9986 h 10000"/>
              <a:gd name="connsiteX118" fmla="*/ 0 w 10000"/>
              <a:gd name="connsiteY118" fmla="*/ 9986 h 10000"/>
              <a:gd name="connsiteX119" fmla="*/ 0 w 10000"/>
              <a:gd name="connsiteY119" fmla="*/ 9986 h 10000"/>
              <a:gd name="connsiteX120" fmla="*/ 110 w 10000"/>
              <a:gd name="connsiteY120" fmla="*/ 9775 h 10000"/>
              <a:gd name="connsiteX121" fmla="*/ 203 w 10000"/>
              <a:gd name="connsiteY121" fmla="*/ 9549 h 10000"/>
              <a:gd name="connsiteX122" fmla="*/ 258 w 10000"/>
              <a:gd name="connsiteY122" fmla="*/ 9310 h 10000"/>
              <a:gd name="connsiteX123" fmla="*/ 295 w 10000"/>
              <a:gd name="connsiteY123" fmla="*/ 9056 h 10000"/>
              <a:gd name="connsiteX124" fmla="*/ 295 w 10000"/>
              <a:gd name="connsiteY124" fmla="*/ 8789 h 10000"/>
              <a:gd name="connsiteX125" fmla="*/ 295 w 10000"/>
              <a:gd name="connsiteY125" fmla="*/ 8521 h 10000"/>
              <a:gd name="connsiteX126" fmla="*/ 258 w 10000"/>
              <a:gd name="connsiteY126" fmla="*/ 7972 h 10000"/>
              <a:gd name="connsiteX127" fmla="*/ 203 w 10000"/>
              <a:gd name="connsiteY127" fmla="*/ 7437 h 10000"/>
              <a:gd name="connsiteX128" fmla="*/ 166 w 10000"/>
              <a:gd name="connsiteY128" fmla="*/ 6915 h 10000"/>
              <a:gd name="connsiteX129" fmla="*/ 166 w 10000"/>
              <a:gd name="connsiteY129" fmla="*/ 6662 h 10000"/>
              <a:gd name="connsiteX130" fmla="*/ 184 w 10000"/>
              <a:gd name="connsiteY130" fmla="*/ 6437 h 10000"/>
              <a:gd name="connsiteX131" fmla="*/ 221 w 10000"/>
              <a:gd name="connsiteY131" fmla="*/ 6211 h 10000"/>
              <a:gd name="connsiteX132" fmla="*/ 276 w 10000"/>
              <a:gd name="connsiteY132" fmla="*/ 6014 h 10000"/>
              <a:gd name="connsiteX133" fmla="*/ 276 w 10000"/>
              <a:gd name="connsiteY133" fmla="*/ 6014 h 10000"/>
              <a:gd name="connsiteX134" fmla="*/ 331 w 10000"/>
              <a:gd name="connsiteY134" fmla="*/ 5887 h 10000"/>
              <a:gd name="connsiteX135" fmla="*/ 405 w 10000"/>
              <a:gd name="connsiteY135" fmla="*/ 5775 h 10000"/>
              <a:gd name="connsiteX136" fmla="*/ 497 w 10000"/>
              <a:gd name="connsiteY136" fmla="*/ 5676 h 10000"/>
              <a:gd name="connsiteX137" fmla="*/ 608 w 10000"/>
              <a:gd name="connsiteY137" fmla="*/ 5577 h 10000"/>
              <a:gd name="connsiteX138" fmla="*/ 718 w 10000"/>
              <a:gd name="connsiteY138" fmla="*/ 5493 h 10000"/>
              <a:gd name="connsiteX139" fmla="*/ 847 w 10000"/>
              <a:gd name="connsiteY139" fmla="*/ 5408 h 10000"/>
              <a:gd name="connsiteX140" fmla="*/ 976 w 10000"/>
              <a:gd name="connsiteY140" fmla="*/ 5338 h 10000"/>
              <a:gd name="connsiteX141" fmla="*/ 1123 w 10000"/>
              <a:gd name="connsiteY141" fmla="*/ 5268 h 10000"/>
              <a:gd name="connsiteX142" fmla="*/ 1436 w 10000"/>
              <a:gd name="connsiteY142" fmla="*/ 5155 h 10000"/>
              <a:gd name="connsiteX143" fmla="*/ 1768 w 10000"/>
              <a:gd name="connsiteY143" fmla="*/ 5042 h 10000"/>
              <a:gd name="connsiteX144" fmla="*/ 2431 w 10000"/>
              <a:gd name="connsiteY144" fmla="*/ 4831 h 10000"/>
              <a:gd name="connsiteX145" fmla="*/ 2431 w 10000"/>
              <a:gd name="connsiteY145" fmla="*/ 4831 h 10000"/>
              <a:gd name="connsiteX146" fmla="*/ 2615 w 10000"/>
              <a:gd name="connsiteY146" fmla="*/ 4761 h 10000"/>
              <a:gd name="connsiteX147" fmla="*/ 2799 w 10000"/>
              <a:gd name="connsiteY147" fmla="*/ 4676 h 10000"/>
              <a:gd name="connsiteX148" fmla="*/ 3131 w 10000"/>
              <a:gd name="connsiteY148" fmla="*/ 4507 h 10000"/>
              <a:gd name="connsiteX149" fmla="*/ 3297 w 10000"/>
              <a:gd name="connsiteY149" fmla="*/ 4423 h 10000"/>
              <a:gd name="connsiteX150" fmla="*/ 3481 w 10000"/>
              <a:gd name="connsiteY150" fmla="*/ 4366 h 10000"/>
              <a:gd name="connsiteX151" fmla="*/ 3683 w 10000"/>
              <a:gd name="connsiteY151" fmla="*/ 4310 h 10000"/>
              <a:gd name="connsiteX152" fmla="*/ 3923 w 10000"/>
              <a:gd name="connsiteY152" fmla="*/ 4282 h 10000"/>
              <a:gd name="connsiteX153" fmla="*/ 3923 w 10000"/>
              <a:gd name="connsiteY153" fmla="*/ 4282 h 10000"/>
              <a:gd name="connsiteX154" fmla="*/ 3831 w 10000"/>
              <a:gd name="connsiteY154" fmla="*/ 3887 h 10000"/>
              <a:gd name="connsiteX155" fmla="*/ 3775 w 10000"/>
              <a:gd name="connsiteY155" fmla="*/ 3704 h 10000"/>
              <a:gd name="connsiteX156" fmla="*/ 3720 w 10000"/>
              <a:gd name="connsiteY156" fmla="*/ 3549 h 10000"/>
              <a:gd name="connsiteX157" fmla="*/ 3628 w 10000"/>
              <a:gd name="connsiteY157" fmla="*/ 3408 h 10000"/>
              <a:gd name="connsiteX158" fmla="*/ 3536 w 10000"/>
              <a:gd name="connsiteY158" fmla="*/ 3268 h 10000"/>
              <a:gd name="connsiteX159" fmla="*/ 3407 w 10000"/>
              <a:gd name="connsiteY159" fmla="*/ 3155 h 10000"/>
              <a:gd name="connsiteX160" fmla="*/ 3260 w 10000"/>
              <a:gd name="connsiteY160" fmla="*/ 3056 h 10000"/>
              <a:gd name="connsiteX161" fmla="*/ 3260 w 10000"/>
              <a:gd name="connsiteY161" fmla="*/ 3056 h 10000"/>
              <a:gd name="connsiteX162" fmla="*/ 3076 w 10000"/>
              <a:gd name="connsiteY162" fmla="*/ 2310 h 10000"/>
              <a:gd name="connsiteX163" fmla="*/ 3002 w 10000"/>
              <a:gd name="connsiteY163" fmla="*/ 1972 h 10000"/>
              <a:gd name="connsiteX164" fmla="*/ 2983 w 10000"/>
              <a:gd name="connsiteY164" fmla="*/ 1817 h 10000"/>
              <a:gd name="connsiteX165" fmla="*/ 2983 w 10000"/>
              <a:gd name="connsiteY165" fmla="*/ 1662 h 10000"/>
              <a:gd name="connsiteX166" fmla="*/ 2983 w 10000"/>
              <a:gd name="connsiteY166" fmla="*/ 1507 h 10000"/>
              <a:gd name="connsiteX167" fmla="*/ 3002 w 10000"/>
              <a:gd name="connsiteY167" fmla="*/ 1366 h 10000"/>
              <a:gd name="connsiteX168" fmla="*/ 3039 w 10000"/>
              <a:gd name="connsiteY168" fmla="*/ 1211 h 10000"/>
              <a:gd name="connsiteX169" fmla="*/ 3094 w 10000"/>
              <a:gd name="connsiteY169" fmla="*/ 1070 h 10000"/>
              <a:gd name="connsiteX170" fmla="*/ 3168 w 10000"/>
              <a:gd name="connsiteY170" fmla="*/ 930 h 10000"/>
              <a:gd name="connsiteX171" fmla="*/ 3260 w 10000"/>
              <a:gd name="connsiteY171" fmla="*/ 789 h 10000"/>
              <a:gd name="connsiteX172" fmla="*/ 3389 w 10000"/>
              <a:gd name="connsiteY172" fmla="*/ 662 h 10000"/>
              <a:gd name="connsiteX173" fmla="*/ 3536 w 10000"/>
              <a:gd name="connsiteY173" fmla="*/ 521 h 10000"/>
              <a:gd name="connsiteX174" fmla="*/ 3536 w 10000"/>
              <a:gd name="connsiteY174" fmla="*/ 521 h 10000"/>
              <a:gd name="connsiteX175" fmla="*/ 3610 w 10000"/>
              <a:gd name="connsiteY175" fmla="*/ 521 h 10000"/>
              <a:gd name="connsiteX176" fmla="*/ 3683 w 10000"/>
              <a:gd name="connsiteY176" fmla="*/ 521 h 10000"/>
              <a:gd name="connsiteX177" fmla="*/ 3794 w 10000"/>
              <a:gd name="connsiteY177" fmla="*/ 507 h 10000"/>
              <a:gd name="connsiteX178" fmla="*/ 3904 w 10000"/>
              <a:gd name="connsiteY178" fmla="*/ 479 h 10000"/>
              <a:gd name="connsiteX179" fmla="*/ 3959 w 10000"/>
              <a:gd name="connsiteY179" fmla="*/ 479 h 10000"/>
              <a:gd name="connsiteX180" fmla="*/ 4033 w 10000"/>
              <a:gd name="connsiteY180" fmla="*/ 479 h 10000"/>
              <a:gd name="connsiteX181" fmla="*/ 4033 w 10000"/>
              <a:gd name="connsiteY181" fmla="*/ 479 h 10000"/>
              <a:gd name="connsiteX182" fmla="*/ 4088 w 10000"/>
              <a:gd name="connsiteY182" fmla="*/ 437 h 10000"/>
              <a:gd name="connsiteX183" fmla="*/ 4144 w 10000"/>
              <a:gd name="connsiteY183" fmla="*/ 380 h 10000"/>
              <a:gd name="connsiteX184" fmla="*/ 4217 w 10000"/>
              <a:gd name="connsiteY184" fmla="*/ 254 h 10000"/>
              <a:gd name="connsiteX185" fmla="*/ 4273 w 10000"/>
              <a:gd name="connsiteY185" fmla="*/ 127 h 10000"/>
              <a:gd name="connsiteX186" fmla="*/ 4309 w 10000"/>
              <a:gd name="connsiteY186" fmla="*/ 70 h 10000"/>
              <a:gd name="connsiteX187" fmla="*/ 4365 w 10000"/>
              <a:gd name="connsiteY187" fmla="*/ 14 h 10000"/>
              <a:gd name="connsiteX188" fmla="*/ 4365 w 10000"/>
              <a:gd name="connsiteY188" fmla="*/ 14 h 10000"/>
              <a:gd name="connsiteX0" fmla="*/ 4365 w 10000"/>
              <a:gd name="connsiteY0" fmla="*/ 14 h 10000"/>
              <a:gd name="connsiteX1" fmla="*/ 4365 w 10000"/>
              <a:gd name="connsiteY1" fmla="*/ 14 h 10000"/>
              <a:gd name="connsiteX2" fmla="*/ 4438 w 10000"/>
              <a:gd name="connsiteY2" fmla="*/ 0 h 10000"/>
              <a:gd name="connsiteX3" fmla="*/ 4457 w 10000"/>
              <a:gd name="connsiteY3" fmla="*/ 0 h 10000"/>
              <a:gd name="connsiteX4" fmla="*/ 4457 w 10000"/>
              <a:gd name="connsiteY4" fmla="*/ 14 h 10000"/>
              <a:gd name="connsiteX5" fmla="*/ 4438 w 10000"/>
              <a:gd name="connsiteY5" fmla="*/ 42 h 10000"/>
              <a:gd name="connsiteX6" fmla="*/ 4401 w 10000"/>
              <a:gd name="connsiteY6" fmla="*/ 85 h 10000"/>
              <a:gd name="connsiteX7" fmla="*/ 4291 w 10000"/>
              <a:gd name="connsiteY7" fmla="*/ 197 h 10000"/>
              <a:gd name="connsiteX8" fmla="*/ 4254 w 10000"/>
              <a:gd name="connsiteY8" fmla="*/ 254 h 10000"/>
              <a:gd name="connsiteX9" fmla="*/ 4254 w 10000"/>
              <a:gd name="connsiteY9" fmla="*/ 310 h 10000"/>
              <a:gd name="connsiteX10" fmla="*/ 4254 w 10000"/>
              <a:gd name="connsiteY10" fmla="*/ 310 h 10000"/>
              <a:gd name="connsiteX11" fmla="*/ 4678 w 10000"/>
              <a:gd name="connsiteY11" fmla="*/ 254 h 10000"/>
              <a:gd name="connsiteX12" fmla="*/ 4880 w 10000"/>
              <a:gd name="connsiteY12" fmla="*/ 239 h 10000"/>
              <a:gd name="connsiteX13" fmla="*/ 5083 w 10000"/>
              <a:gd name="connsiteY13" fmla="*/ 239 h 10000"/>
              <a:gd name="connsiteX14" fmla="*/ 5304 w 10000"/>
              <a:gd name="connsiteY14" fmla="*/ 239 h 10000"/>
              <a:gd name="connsiteX15" fmla="*/ 5506 w 10000"/>
              <a:gd name="connsiteY15" fmla="*/ 254 h 10000"/>
              <a:gd name="connsiteX16" fmla="*/ 5709 w 10000"/>
              <a:gd name="connsiteY16" fmla="*/ 282 h 10000"/>
              <a:gd name="connsiteX17" fmla="*/ 5893 w 10000"/>
              <a:gd name="connsiteY17" fmla="*/ 310 h 10000"/>
              <a:gd name="connsiteX18" fmla="*/ 6077 w 10000"/>
              <a:gd name="connsiteY18" fmla="*/ 366 h 10000"/>
              <a:gd name="connsiteX19" fmla="*/ 6243 w 10000"/>
              <a:gd name="connsiteY19" fmla="*/ 437 h 10000"/>
              <a:gd name="connsiteX20" fmla="*/ 6409 w 10000"/>
              <a:gd name="connsiteY20" fmla="*/ 507 h 10000"/>
              <a:gd name="connsiteX21" fmla="*/ 6556 w 10000"/>
              <a:gd name="connsiteY21" fmla="*/ 606 h 10000"/>
              <a:gd name="connsiteX22" fmla="*/ 6685 w 10000"/>
              <a:gd name="connsiteY22" fmla="*/ 718 h 10000"/>
              <a:gd name="connsiteX23" fmla="*/ 6796 w 10000"/>
              <a:gd name="connsiteY23" fmla="*/ 845 h 10000"/>
              <a:gd name="connsiteX24" fmla="*/ 6888 w 10000"/>
              <a:gd name="connsiteY24" fmla="*/ 986 h 10000"/>
              <a:gd name="connsiteX25" fmla="*/ 6961 w 10000"/>
              <a:gd name="connsiteY25" fmla="*/ 1155 h 10000"/>
              <a:gd name="connsiteX26" fmla="*/ 6961 w 10000"/>
              <a:gd name="connsiteY26" fmla="*/ 1155 h 10000"/>
              <a:gd name="connsiteX27" fmla="*/ 6980 w 10000"/>
              <a:gd name="connsiteY27" fmla="*/ 1268 h 10000"/>
              <a:gd name="connsiteX28" fmla="*/ 6998 w 10000"/>
              <a:gd name="connsiteY28" fmla="*/ 1380 h 10000"/>
              <a:gd name="connsiteX29" fmla="*/ 6980 w 10000"/>
              <a:gd name="connsiteY29" fmla="*/ 1493 h 10000"/>
              <a:gd name="connsiteX30" fmla="*/ 6961 w 10000"/>
              <a:gd name="connsiteY30" fmla="*/ 1606 h 10000"/>
              <a:gd name="connsiteX31" fmla="*/ 6888 w 10000"/>
              <a:gd name="connsiteY31" fmla="*/ 1803 h 10000"/>
              <a:gd name="connsiteX32" fmla="*/ 6869 w 10000"/>
              <a:gd name="connsiteY32" fmla="*/ 1901 h 10000"/>
              <a:gd name="connsiteX33" fmla="*/ 6851 w 10000"/>
              <a:gd name="connsiteY33" fmla="*/ 2000 h 10000"/>
              <a:gd name="connsiteX34" fmla="*/ 6851 w 10000"/>
              <a:gd name="connsiteY34" fmla="*/ 2000 h 10000"/>
              <a:gd name="connsiteX35" fmla="*/ 6851 w 10000"/>
              <a:gd name="connsiteY35" fmla="*/ 2155 h 10000"/>
              <a:gd name="connsiteX36" fmla="*/ 6888 w 10000"/>
              <a:gd name="connsiteY36" fmla="*/ 2310 h 10000"/>
              <a:gd name="connsiteX37" fmla="*/ 6924 w 10000"/>
              <a:gd name="connsiteY37" fmla="*/ 2493 h 10000"/>
              <a:gd name="connsiteX38" fmla="*/ 6943 w 10000"/>
              <a:gd name="connsiteY38" fmla="*/ 2662 h 10000"/>
              <a:gd name="connsiteX39" fmla="*/ 6924 w 10000"/>
              <a:gd name="connsiteY39" fmla="*/ 2746 h 10000"/>
              <a:gd name="connsiteX40" fmla="*/ 6906 w 10000"/>
              <a:gd name="connsiteY40" fmla="*/ 2831 h 10000"/>
              <a:gd name="connsiteX41" fmla="*/ 6888 w 10000"/>
              <a:gd name="connsiteY41" fmla="*/ 2901 h 10000"/>
              <a:gd name="connsiteX42" fmla="*/ 6851 w 10000"/>
              <a:gd name="connsiteY42" fmla="*/ 2972 h 10000"/>
              <a:gd name="connsiteX43" fmla="*/ 6777 w 10000"/>
              <a:gd name="connsiteY43" fmla="*/ 3028 h 10000"/>
              <a:gd name="connsiteX44" fmla="*/ 6703 w 10000"/>
              <a:gd name="connsiteY44" fmla="*/ 3070 h 10000"/>
              <a:gd name="connsiteX45" fmla="*/ 6593 w 10000"/>
              <a:gd name="connsiteY45" fmla="*/ 3113 h 10000"/>
              <a:gd name="connsiteX46" fmla="*/ 6464 w 10000"/>
              <a:gd name="connsiteY46" fmla="*/ 3141 h 10000"/>
              <a:gd name="connsiteX47" fmla="*/ 6464 w 10000"/>
              <a:gd name="connsiteY47" fmla="*/ 3141 h 10000"/>
              <a:gd name="connsiteX48" fmla="*/ 6464 w 10000"/>
              <a:gd name="connsiteY48" fmla="*/ 3268 h 10000"/>
              <a:gd name="connsiteX49" fmla="*/ 6427 w 10000"/>
              <a:gd name="connsiteY49" fmla="*/ 3394 h 10000"/>
              <a:gd name="connsiteX50" fmla="*/ 6335 w 10000"/>
              <a:gd name="connsiteY50" fmla="*/ 3648 h 10000"/>
              <a:gd name="connsiteX51" fmla="*/ 6298 w 10000"/>
              <a:gd name="connsiteY51" fmla="*/ 3775 h 10000"/>
              <a:gd name="connsiteX52" fmla="*/ 6280 w 10000"/>
              <a:gd name="connsiteY52" fmla="*/ 3887 h 10000"/>
              <a:gd name="connsiteX53" fmla="*/ 6298 w 10000"/>
              <a:gd name="connsiteY53" fmla="*/ 4014 h 10000"/>
              <a:gd name="connsiteX54" fmla="*/ 6354 w 10000"/>
              <a:gd name="connsiteY54" fmla="*/ 4155 h 10000"/>
              <a:gd name="connsiteX55" fmla="*/ 6354 w 10000"/>
              <a:gd name="connsiteY55" fmla="*/ 4155 h 10000"/>
              <a:gd name="connsiteX56" fmla="*/ 6556 w 10000"/>
              <a:gd name="connsiteY56" fmla="*/ 4268 h 10000"/>
              <a:gd name="connsiteX57" fmla="*/ 6740 w 10000"/>
              <a:gd name="connsiteY57" fmla="*/ 4380 h 10000"/>
              <a:gd name="connsiteX58" fmla="*/ 7164 w 10000"/>
              <a:gd name="connsiteY58" fmla="*/ 4577 h 10000"/>
              <a:gd name="connsiteX59" fmla="*/ 7993 w 10000"/>
              <a:gd name="connsiteY59" fmla="*/ 4930 h 10000"/>
              <a:gd name="connsiteX60" fmla="*/ 8398 w 10000"/>
              <a:gd name="connsiteY60" fmla="*/ 5113 h 10000"/>
              <a:gd name="connsiteX61" fmla="*/ 8785 w 10000"/>
              <a:gd name="connsiteY61" fmla="*/ 5310 h 10000"/>
              <a:gd name="connsiteX62" fmla="*/ 8969 w 10000"/>
              <a:gd name="connsiteY62" fmla="*/ 5423 h 10000"/>
              <a:gd name="connsiteX63" fmla="*/ 9134 w 10000"/>
              <a:gd name="connsiteY63" fmla="*/ 5535 h 10000"/>
              <a:gd name="connsiteX64" fmla="*/ 9300 w 10000"/>
              <a:gd name="connsiteY64" fmla="*/ 5662 h 10000"/>
              <a:gd name="connsiteX65" fmla="*/ 9448 w 10000"/>
              <a:gd name="connsiteY65" fmla="*/ 5803 h 10000"/>
              <a:gd name="connsiteX66" fmla="*/ 9448 w 10000"/>
              <a:gd name="connsiteY66" fmla="*/ 5803 h 10000"/>
              <a:gd name="connsiteX67" fmla="*/ 9540 w 10000"/>
              <a:gd name="connsiteY67" fmla="*/ 5901 h 10000"/>
              <a:gd name="connsiteX68" fmla="*/ 9613 w 10000"/>
              <a:gd name="connsiteY68" fmla="*/ 6014 h 10000"/>
              <a:gd name="connsiteX69" fmla="*/ 9687 w 10000"/>
              <a:gd name="connsiteY69" fmla="*/ 6127 h 10000"/>
              <a:gd name="connsiteX70" fmla="*/ 9742 w 10000"/>
              <a:gd name="connsiteY70" fmla="*/ 6239 h 10000"/>
              <a:gd name="connsiteX71" fmla="*/ 9816 w 10000"/>
              <a:gd name="connsiteY71" fmla="*/ 6479 h 10000"/>
              <a:gd name="connsiteX72" fmla="*/ 9871 w 10000"/>
              <a:gd name="connsiteY72" fmla="*/ 6718 h 10000"/>
              <a:gd name="connsiteX73" fmla="*/ 9890 w 10000"/>
              <a:gd name="connsiteY73" fmla="*/ 6972 h 10000"/>
              <a:gd name="connsiteX74" fmla="*/ 9871 w 10000"/>
              <a:gd name="connsiteY74" fmla="*/ 7239 h 10000"/>
              <a:gd name="connsiteX75" fmla="*/ 9853 w 10000"/>
              <a:gd name="connsiteY75" fmla="*/ 7507 h 10000"/>
              <a:gd name="connsiteX76" fmla="*/ 9816 w 10000"/>
              <a:gd name="connsiteY76" fmla="*/ 7789 h 10000"/>
              <a:gd name="connsiteX77" fmla="*/ 9742 w 10000"/>
              <a:gd name="connsiteY77" fmla="*/ 8338 h 10000"/>
              <a:gd name="connsiteX78" fmla="*/ 9724 w 10000"/>
              <a:gd name="connsiteY78" fmla="*/ 8620 h 10000"/>
              <a:gd name="connsiteX79" fmla="*/ 9724 w 10000"/>
              <a:gd name="connsiteY79" fmla="*/ 8901 h 10000"/>
              <a:gd name="connsiteX80" fmla="*/ 9742 w 10000"/>
              <a:gd name="connsiteY80" fmla="*/ 9183 h 10000"/>
              <a:gd name="connsiteX81" fmla="*/ 9779 w 10000"/>
              <a:gd name="connsiteY81" fmla="*/ 9451 h 10000"/>
              <a:gd name="connsiteX82" fmla="*/ 9871 w 10000"/>
              <a:gd name="connsiteY82" fmla="*/ 9718 h 10000"/>
              <a:gd name="connsiteX83" fmla="*/ 9926 w 10000"/>
              <a:gd name="connsiteY83" fmla="*/ 9859 h 10000"/>
              <a:gd name="connsiteX84" fmla="*/ 10000 w 10000"/>
              <a:gd name="connsiteY84" fmla="*/ 9986 h 10000"/>
              <a:gd name="connsiteX85" fmla="*/ 10000 w 10000"/>
              <a:gd name="connsiteY85" fmla="*/ 9986 h 10000"/>
              <a:gd name="connsiteX86" fmla="*/ 8987 w 10000"/>
              <a:gd name="connsiteY86" fmla="*/ 10000 h 10000"/>
              <a:gd name="connsiteX87" fmla="*/ 8748 w 10000"/>
              <a:gd name="connsiteY87" fmla="*/ 10000 h 10000"/>
              <a:gd name="connsiteX88" fmla="*/ 8527 w 10000"/>
              <a:gd name="connsiteY88" fmla="*/ 9972 h 10000"/>
              <a:gd name="connsiteX89" fmla="*/ 8435 w 10000"/>
              <a:gd name="connsiteY89" fmla="*/ 9958 h 10000"/>
              <a:gd name="connsiteX90" fmla="*/ 8343 w 10000"/>
              <a:gd name="connsiteY90" fmla="*/ 9915 h 10000"/>
              <a:gd name="connsiteX91" fmla="*/ 8287 w 10000"/>
              <a:gd name="connsiteY91" fmla="*/ 9873 h 10000"/>
              <a:gd name="connsiteX92" fmla="*/ 8232 w 10000"/>
              <a:gd name="connsiteY92" fmla="*/ 9817 h 10000"/>
              <a:gd name="connsiteX93" fmla="*/ 8232 w 10000"/>
              <a:gd name="connsiteY93" fmla="*/ 9817 h 10000"/>
              <a:gd name="connsiteX94" fmla="*/ 8177 w 10000"/>
              <a:gd name="connsiteY94" fmla="*/ 9803 h 10000"/>
              <a:gd name="connsiteX95" fmla="*/ 8140 w 10000"/>
              <a:gd name="connsiteY95" fmla="*/ 9817 h 10000"/>
              <a:gd name="connsiteX96" fmla="*/ 8122 w 10000"/>
              <a:gd name="connsiteY96" fmla="*/ 9845 h 10000"/>
              <a:gd name="connsiteX97" fmla="*/ 8122 w 10000"/>
              <a:gd name="connsiteY97" fmla="*/ 9887 h 10000"/>
              <a:gd name="connsiteX98" fmla="*/ 8122 w 10000"/>
              <a:gd name="connsiteY98" fmla="*/ 9958 h 10000"/>
              <a:gd name="connsiteX99" fmla="*/ 8103 w 10000"/>
              <a:gd name="connsiteY99" fmla="*/ 9986 h 10000"/>
              <a:gd name="connsiteX100" fmla="*/ 8066 w 10000"/>
              <a:gd name="connsiteY100" fmla="*/ 9986 h 10000"/>
              <a:gd name="connsiteX101" fmla="*/ 8066 w 10000"/>
              <a:gd name="connsiteY101" fmla="*/ 9986 h 10000"/>
              <a:gd name="connsiteX102" fmla="*/ 1989 w 10000"/>
              <a:gd name="connsiteY102" fmla="*/ 9986 h 10000"/>
              <a:gd name="connsiteX103" fmla="*/ 1989 w 10000"/>
              <a:gd name="connsiteY103" fmla="*/ 9986 h 10000"/>
              <a:gd name="connsiteX104" fmla="*/ 1989 w 10000"/>
              <a:gd name="connsiteY104" fmla="*/ 9873 h 10000"/>
              <a:gd name="connsiteX105" fmla="*/ 1989 w 10000"/>
              <a:gd name="connsiteY105" fmla="*/ 9746 h 10000"/>
              <a:gd name="connsiteX106" fmla="*/ 1989 w 10000"/>
              <a:gd name="connsiteY106" fmla="*/ 9648 h 10000"/>
              <a:gd name="connsiteX107" fmla="*/ 1971 w 10000"/>
              <a:gd name="connsiteY107" fmla="*/ 9606 h 10000"/>
              <a:gd name="connsiteX108" fmla="*/ 1934 w 10000"/>
              <a:gd name="connsiteY108" fmla="*/ 9563 h 10000"/>
              <a:gd name="connsiteX109" fmla="*/ 1934 w 10000"/>
              <a:gd name="connsiteY109" fmla="*/ 9563 h 10000"/>
              <a:gd name="connsiteX110" fmla="*/ 1860 w 10000"/>
              <a:gd name="connsiteY110" fmla="*/ 9592 h 10000"/>
              <a:gd name="connsiteX111" fmla="*/ 1823 w 10000"/>
              <a:gd name="connsiteY111" fmla="*/ 9620 h 10000"/>
              <a:gd name="connsiteX112" fmla="*/ 1786 w 10000"/>
              <a:gd name="connsiteY112" fmla="*/ 9676 h 10000"/>
              <a:gd name="connsiteX113" fmla="*/ 1768 w 10000"/>
              <a:gd name="connsiteY113" fmla="*/ 9732 h 10000"/>
              <a:gd name="connsiteX114" fmla="*/ 1750 w 10000"/>
              <a:gd name="connsiteY114" fmla="*/ 9859 h 10000"/>
              <a:gd name="connsiteX115" fmla="*/ 1713 w 10000"/>
              <a:gd name="connsiteY115" fmla="*/ 9986 h 10000"/>
              <a:gd name="connsiteX116" fmla="*/ 1713 w 10000"/>
              <a:gd name="connsiteY116" fmla="*/ 9986 h 10000"/>
              <a:gd name="connsiteX117" fmla="*/ 0 w 10000"/>
              <a:gd name="connsiteY117" fmla="*/ 9986 h 10000"/>
              <a:gd name="connsiteX118" fmla="*/ 0 w 10000"/>
              <a:gd name="connsiteY118" fmla="*/ 9986 h 10000"/>
              <a:gd name="connsiteX119" fmla="*/ 110 w 10000"/>
              <a:gd name="connsiteY119" fmla="*/ 9775 h 10000"/>
              <a:gd name="connsiteX120" fmla="*/ 203 w 10000"/>
              <a:gd name="connsiteY120" fmla="*/ 9549 h 10000"/>
              <a:gd name="connsiteX121" fmla="*/ 258 w 10000"/>
              <a:gd name="connsiteY121" fmla="*/ 9310 h 10000"/>
              <a:gd name="connsiteX122" fmla="*/ 295 w 10000"/>
              <a:gd name="connsiteY122" fmla="*/ 9056 h 10000"/>
              <a:gd name="connsiteX123" fmla="*/ 295 w 10000"/>
              <a:gd name="connsiteY123" fmla="*/ 8789 h 10000"/>
              <a:gd name="connsiteX124" fmla="*/ 295 w 10000"/>
              <a:gd name="connsiteY124" fmla="*/ 8521 h 10000"/>
              <a:gd name="connsiteX125" fmla="*/ 258 w 10000"/>
              <a:gd name="connsiteY125" fmla="*/ 7972 h 10000"/>
              <a:gd name="connsiteX126" fmla="*/ 203 w 10000"/>
              <a:gd name="connsiteY126" fmla="*/ 7437 h 10000"/>
              <a:gd name="connsiteX127" fmla="*/ 166 w 10000"/>
              <a:gd name="connsiteY127" fmla="*/ 6915 h 10000"/>
              <a:gd name="connsiteX128" fmla="*/ 166 w 10000"/>
              <a:gd name="connsiteY128" fmla="*/ 6662 h 10000"/>
              <a:gd name="connsiteX129" fmla="*/ 184 w 10000"/>
              <a:gd name="connsiteY129" fmla="*/ 6437 h 10000"/>
              <a:gd name="connsiteX130" fmla="*/ 221 w 10000"/>
              <a:gd name="connsiteY130" fmla="*/ 6211 h 10000"/>
              <a:gd name="connsiteX131" fmla="*/ 276 w 10000"/>
              <a:gd name="connsiteY131" fmla="*/ 6014 h 10000"/>
              <a:gd name="connsiteX132" fmla="*/ 276 w 10000"/>
              <a:gd name="connsiteY132" fmla="*/ 6014 h 10000"/>
              <a:gd name="connsiteX133" fmla="*/ 331 w 10000"/>
              <a:gd name="connsiteY133" fmla="*/ 5887 h 10000"/>
              <a:gd name="connsiteX134" fmla="*/ 405 w 10000"/>
              <a:gd name="connsiteY134" fmla="*/ 5775 h 10000"/>
              <a:gd name="connsiteX135" fmla="*/ 497 w 10000"/>
              <a:gd name="connsiteY135" fmla="*/ 5676 h 10000"/>
              <a:gd name="connsiteX136" fmla="*/ 608 w 10000"/>
              <a:gd name="connsiteY136" fmla="*/ 5577 h 10000"/>
              <a:gd name="connsiteX137" fmla="*/ 718 w 10000"/>
              <a:gd name="connsiteY137" fmla="*/ 5493 h 10000"/>
              <a:gd name="connsiteX138" fmla="*/ 847 w 10000"/>
              <a:gd name="connsiteY138" fmla="*/ 5408 h 10000"/>
              <a:gd name="connsiteX139" fmla="*/ 976 w 10000"/>
              <a:gd name="connsiteY139" fmla="*/ 5338 h 10000"/>
              <a:gd name="connsiteX140" fmla="*/ 1123 w 10000"/>
              <a:gd name="connsiteY140" fmla="*/ 5268 h 10000"/>
              <a:gd name="connsiteX141" fmla="*/ 1436 w 10000"/>
              <a:gd name="connsiteY141" fmla="*/ 5155 h 10000"/>
              <a:gd name="connsiteX142" fmla="*/ 1768 w 10000"/>
              <a:gd name="connsiteY142" fmla="*/ 5042 h 10000"/>
              <a:gd name="connsiteX143" fmla="*/ 2431 w 10000"/>
              <a:gd name="connsiteY143" fmla="*/ 4831 h 10000"/>
              <a:gd name="connsiteX144" fmla="*/ 2431 w 10000"/>
              <a:gd name="connsiteY144" fmla="*/ 4831 h 10000"/>
              <a:gd name="connsiteX145" fmla="*/ 2615 w 10000"/>
              <a:gd name="connsiteY145" fmla="*/ 4761 h 10000"/>
              <a:gd name="connsiteX146" fmla="*/ 2799 w 10000"/>
              <a:gd name="connsiteY146" fmla="*/ 4676 h 10000"/>
              <a:gd name="connsiteX147" fmla="*/ 3131 w 10000"/>
              <a:gd name="connsiteY147" fmla="*/ 4507 h 10000"/>
              <a:gd name="connsiteX148" fmla="*/ 3297 w 10000"/>
              <a:gd name="connsiteY148" fmla="*/ 4423 h 10000"/>
              <a:gd name="connsiteX149" fmla="*/ 3481 w 10000"/>
              <a:gd name="connsiteY149" fmla="*/ 4366 h 10000"/>
              <a:gd name="connsiteX150" fmla="*/ 3683 w 10000"/>
              <a:gd name="connsiteY150" fmla="*/ 4310 h 10000"/>
              <a:gd name="connsiteX151" fmla="*/ 3923 w 10000"/>
              <a:gd name="connsiteY151" fmla="*/ 4282 h 10000"/>
              <a:gd name="connsiteX152" fmla="*/ 3923 w 10000"/>
              <a:gd name="connsiteY152" fmla="*/ 4282 h 10000"/>
              <a:gd name="connsiteX153" fmla="*/ 3831 w 10000"/>
              <a:gd name="connsiteY153" fmla="*/ 3887 h 10000"/>
              <a:gd name="connsiteX154" fmla="*/ 3775 w 10000"/>
              <a:gd name="connsiteY154" fmla="*/ 3704 h 10000"/>
              <a:gd name="connsiteX155" fmla="*/ 3720 w 10000"/>
              <a:gd name="connsiteY155" fmla="*/ 3549 h 10000"/>
              <a:gd name="connsiteX156" fmla="*/ 3628 w 10000"/>
              <a:gd name="connsiteY156" fmla="*/ 3408 h 10000"/>
              <a:gd name="connsiteX157" fmla="*/ 3536 w 10000"/>
              <a:gd name="connsiteY157" fmla="*/ 3268 h 10000"/>
              <a:gd name="connsiteX158" fmla="*/ 3407 w 10000"/>
              <a:gd name="connsiteY158" fmla="*/ 3155 h 10000"/>
              <a:gd name="connsiteX159" fmla="*/ 3260 w 10000"/>
              <a:gd name="connsiteY159" fmla="*/ 3056 h 10000"/>
              <a:gd name="connsiteX160" fmla="*/ 3260 w 10000"/>
              <a:gd name="connsiteY160" fmla="*/ 3056 h 10000"/>
              <a:gd name="connsiteX161" fmla="*/ 3076 w 10000"/>
              <a:gd name="connsiteY161" fmla="*/ 2310 h 10000"/>
              <a:gd name="connsiteX162" fmla="*/ 3002 w 10000"/>
              <a:gd name="connsiteY162" fmla="*/ 1972 h 10000"/>
              <a:gd name="connsiteX163" fmla="*/ 2983 w 10000"/>
              <a:gd name="connsiteY163" fmla="*/ 1817 h 10000"/>
              <a:gd name="connsiteX164" fmla="*/ 2983 w 10000"/>
              <a:gd name="connsiteY164" fmla="*/ 1662 h 10000"/>
              <a:gd name="connsiteX165" fmla="*/ 2983 w 10000"/>
              <a:gd name="connsiteY165" fmla="*/ 1507 h 10000"/>
              <a:gd name="connsiteX166" fmla="*/ 3002 w 10000"/>
              <a:gd name="connsiteY166" fmla="*/ 1366 h 10000"/>
              <a:gd name="connsiteX167" fmla="*/ 3039 w 10000"/>
              <a:gd name="connsiteY167" fmla="*/ 1211 h 10000"/>
              <a:gd name="connsiteX168" fmla="*/ 3094 w 10000"/>
              <a:gd name="connsiteY168" fmla="*/ 1070 h 10000"/>
              <a:gd name="connsiteX169" fmla="*/ 3168 w 10000"/>
              <a:gd name="connsiteY169" fmla="*/ 930 h 10000"/>
              <a:gd name="connsiteX170" fmla="*/ 3260 w 10000"/>
              <a:gd name="connsiteY170" fmla="*/ 789 h 10000"/>
              <a:gd name="connsiteX171" fmla="*/ 3389 w 10000"/>
              <a:gd name="connsiteY171" fmla="*/ 662 h 10000"/>
              <a:gd name="connsiteX172" fmla="*/ 3536 w 10000"/>
              <a:gd name="connsiteY172" fmla="*/ 521 h 10000"/>
              <a:gd name="connsiteX173" fmla="*/ 3536 w 10000"/>
              <a:gd name="connsiteY173" fmla="*/ 521 h 10000"/>
              <a:gd name="connsiteX174" fmla="*/ 3610 w 10000"/>
              <a:gd name="connsiteY174" fmla="*/ 521 h 10000"/>
              <a:gd name="connsiteX175" fmla="*/ 3683 w 10000"/>
              <a:gd name="connsiteY175" fmla="*/ 521 h 10000"/>
              <a:gd name="connsiteX176" fmla="*/ 3794 w 10000"/>
              <a:gd name="connsiteY176" fmla="*/ 507 h 10000"/>
              <a:gd name="connsiteX177" fmla="*/ 3904 w 10000"/>
              <a:gd name="connsiteY177" fmla="*/ 479 h 10000"/>
              <a:gd name="connsiteX178" fmla="*/ 3959 w 10000"/>
              <a:gd name="connsiteY178" fmla="*/ 479 h 10000"/>
              <a:gd name="connsiteX179" fmla="*/ 4033 w 10000"/>
              <a:gd name="connsiteY179" fmla="*/ 479 h 10000"/>
              <a:gd name="connsiteX180" fmla="*/ 4033 w 10000"/>
              <a:gd name="connsiteY180" fmla="*/ 479 h 10000"/>
              <a:gd name="connsiteX181" fmla="*/ 4088 w 10000"/>
              <a:gd name="connsiteY181" fmla="*/ 437 h 10000"/>
              <a:gd name="connsiteX182" fmla="*/ 4144 w 10000"/>
              <a:gd name="connsiteY182" fmla="*/ 380 h 10000"/>
              <a:gd name="connsiteX183" fmla="*/ 4217 w 10000"/>
              <a:gd name="connsiteY183" fmla="*/ 254 h 10000"/>
              <a:gd name="connsiteX184" fmla="*/ 4273 w 10000"/>
              <a:gd name="connsiteY184" fmla="*/ 127 h 10000"/>
              <a:gd name="connsiteX185" fmla="*/ 4309 w 10000"/>
              <a:gd name="connsiteY185" fmla="*/ 70 h 10000"/>
              <a:gd name="connsiteX186" fmla="*/ 4365 w 10000"/>
              <a:gd name="connsiteY186" fmla="*/ 14 h 10000"/>
              <a:gd name="connsiteX187" fmla="*/ 4365 w 10000"/>
              <a:gd name="connsiteY187" fmla="*/ 14 h 10000"/>
              <a:gd name="connsiteX0" fmla="*/ 4365 w 10000"/>
              <a:gd name="connsiteY0" fmla="*/ 14 h 10000"/>
              <a:gd name="connsiteX1" fmla="*/ 4365 w 10000"/>
              <a:gd name="connsiteY1" fmla="*/ 14 h 10000"/>
              <a:gd name="connsiteX2" fmla="*/ 4438 w 10000"/>
              <a:gd name="connsiteY2" fmla="*/ 0 h 10000"/>
              <a:gd name="connsiteX3" fmla="*/ 4457 w 10000"/>
              <a:gd name="connsiteY3" fmla="*/ 0 h 10000"/>
              <a:gd name="connsiteX4" fmla="*/ 4457 w 10000"/>
              <a:gd name="connsiteY4" fmla="*/ 14 h 10000"/>
              <a:gd name="connsiteX5" fmla="*/ 4438 w 10000"/>
              <a:gd name="connsiteY5" fmla="*/ 42 h 10000"/>
              <a:gd name="connsiteX6" fmla="*/ 4401 w 10000"/>
              <a:gd name="connsiteY6" fmla="*/ 85 h 10000"/>
              <a:gd name="connsiteX7" fmla="*/ 4291 w 10000"/>
              <a:gd name="connsiteY7" fmla="*/ 197 h 10000"/>
              <a:gd name="connsiteX8" fmla="*/ 4254 w 10000"/>
              <a:gd name="connsiteY8" fmla="*/ 254 h 10000"/>
              <a:gd name="connsiteX9" fmla="*/ 4254 w 10000"/>
              <a:gd name="connsiteY9" fmla="*/ 310 h 10000"/>
              <a:gd name="connsiteX10" fmla="*/ 4254 w 10000"/>
              <a:gd name="connsiteY10" fmla="*/ 310 h 10000"/>
              <a:gd name="connsiteX11" fmla="*/ 4678 w 10000"/>
              <a:gd name="connsiteY11" fmla="*/ 254 h 10000"/>
              <a:gd name="connsiteX12" fmla="*/ 4880 w 10000"/>
              <a:gd name="connsiteY12" fmla="*/ 239 h 10000"/>
              <a:gd name="connsiteX13" fmla="*/ 5083 w 10000"/>
              <a:gd name="connsiteY13" fmla="*/ 239 h 10000"/>
              <a:gd name="connsiteX14" fmla="*/ 5304 w 10000"/>
              <a:gd name="connsiteY14" fmla="*/ 239 h 10000"/>
              <a:gd name="connsiteX15" fmla="*/ 5506 w 10000"/>
              <a:gd name="connsiteY15" fmla="*/ 254 h 10000"/>
              <a:gd name="connsiteX16" fmla="*/ 5709 w 10000"/>
              <a:gd name="connsiteY16" fmla="*/ 282 h 10000"/>
              <a:gd name="connsiteX17" fmla="*/ 5893 w 10000"/>
              <a:gd name="connsiteY17" fmla="*/ 310 h 10000"/>
              <a:gd name="connsiteX18" fmla="*/ 6077 w 10000"/>
              <a:gd name="connsiteY18" fmla="*/ 366 h 10000"/>
              <a:gd name="connsiteX19" fmla="*/ 6243 w 10000"/>
              <a:gd name="connsiteY19" fmla="*/ 437 h 10000"/>
              <a:gd name="connsiteX20" fmla="*/ 6409 w 10000"/>
              <a:gd name="connsiteY20" fmla="*/ 507 h 10000"/>
              <a:gd name="connsiteX21" fmla="*/ 6556 w 10000"/>
              <a:gd name="connsiteY21" fmla="*/ 606 h 10000"/>
              <a:gd name="connsiteX22" fmla="*/ 6685 w 10000"/>
              <a:gd name="connsiteY22" fmla="*/ 718 h 10000"/>
              <a:gd name="connsiteX23" fmla="*/ 6796 w 10000"/>
              <a:gd name="connsiteY23" fmla="*/ 845 h 10000"/>
              <a:gd name="connsiteX24" fmla="*/ 6888 w 10000"/>
              <a:gd name="connsiteY24" fmla="*/ 986 h 10000"/>
              <a:gd name="connsiteX25" fmla="*/ 6961 w 10000"/>
              <a:gd name="connsiteY25" fmla="*/ 1155 h 10000"/>
              <a:gd name="connsiteX26" fmla="*/ 6961 w 10000"/>
              <a:gd name="connsiteY26" fmla="*/ 1155 h 10000"/>
              <a:gd name="connsiteX27" fmla="*/ 6980 w 10000"/>
              <a:gd name="connsiteY27" fmla="*/ 1268 h 10000"/>
              <a:gd name="connsiteX28" fmla="*/ 6998 w 10000"/>
              <a:gd name="connsiteY28" fmla="*/ 1380 h 10000"/>
              <a:gd name="connsiteX29" fmla="*/ 6980 w 10000"/>
              <a:gd name="connsiteY29" fmla="*/ 1493 h 10000"/>
              <a:gd name="connsiteX30" fmla="*/ 6961 w 10000"/>
              <a:gd name="connsiteY30" fmla="*/ 1606 h 10000"/>
              <a:gd name="connsiteX31" fmla="*/ 6888 w 10000"/>
              <a:gd name="connsiteY31" fmla="*/ 1803 h 10000"/>
              <a:gd name="connsiteX32" fmla="*/ 6869 w 10000"/>
              <a:gd name="connsiteY32" fmla="*/ 1901 h 10000"/>
              <a:gd name="connsiteX33" fmla="*/ 6851 w 10000"/>
              <a:gd name="connsiteY33" fmla="*/ 2000 h 10000"/>
              <a:gd name="connsiteX34" fmla="*/ 6851 w 10000"/>
              <a:gd name="connsiteY34" fmla="*/ 2000 h 10000"/>
              <a:gd name="connsiteX35" fmla="*/ 6851 w 10000"/>
              <a:gd name="connsiteY35" fmla="*/ 2155 h 10000"/>
              <a:gd name="connsiteX36" fmla="*/ 6888 w 10000"/>
              <a:gd name="connsiteY36" fmla="*/ 2310 h 10000"/>
              <a:gd name="connsiteX37" fmla="*/ 6924 w 10000"/>
              <a:gd name="connsiteY37" fmla="*/ 2493 h 10000"/>
              <a:gd name="connsiteX38" fmla="*/ 6943 w 10000"/>
              <a:gd name="connsiteY38" fmla="*/ 2662 h 10000"/>
              <a:gd name="connsiteX39" fmla="*/ 6924 w 10000"/>
              <a:gd name="connsiteY39" fmla="*/ 2746 h 10000"/>
              <a:gd name="connsiteX40" fmla="*/ 6906 w 10000"/>
              <a:gd name="connsiteY40" fmla="*/ 2831 h 10000"/>
              <a:gd name="connsiteX41" fmla="*/ 6888 w 10000"/>
              <a:gd name="connsiteY41" fmla="*/ 2901 h 10000"/>
              <a:gd name="connsiteX42" fmla="*/ 6851 w 10000"/>
              <a:gd name="connsiteY42" fmla="*/ 2972 h 10000"/>
              <a:gd name="connsiteX43" fmla="*/ 6777 w 10000"/>
              <a:gd name="connsiteY43" fmla="*/ 3028 h 10000"/>
              <a:gd name="connsiteX44" fmla="*/ 6703 w 10000"/>
              <a:gd name="connsiteY44" fmla="*/ 3070 h 10000"/>
              <a:gd name="connsiteX45" fmla="*/ 6593 w 10000"/>
              <a:gd name="connsiteY45" fmla="*/ 3113 h 10000"/>
              <a:gd name="connsiteX46" fmla="*/ 6464 w 10000"/>
              <a:gd name="connsiteY46" fmla="*/ 3141 h 10000"/>
              <a:gd name="connsiteX47" fmla="*/ 6464 w 10000"/>
              <a:gd name="connsiteY47" fmla="*/ 3141 h 10000"/>
              <a:gd name="connsiteX48" fmla="*/ 6464 w 10000"/>
              <a:gd name="connsiteY48" fmla="*/ 3268 h 10000"/>
              <a:gd name="connsiteX49" fmla="*/ 6427 w 10000"/>
              <a:gd name="connsiteY49" fmla="*/ 3394 h 10000"/>
              <a:gd name="connsiteX50" fmla="*/ 6335 w 10000"/>
              <a:gd name="connsiteY50" fmla="*/ 3648 h 10000"/>
              <a:gd name="connsiteX51" fmla="*/ 6298 w 10000"/>
              <a:gd name="connsiteY51" fmla="*/ 3775 h 10000"/>
              <a:gd name="connsiteX52" fmla="*/ 6280 w 10000"/>
              <a:gd name="connsiteY52" fmla="*/ 3887 h 10000"/>
              <a:gd name="connsiteX53" fmla="*/ 6298 w 10000"/>
              <a:gd name="connsiteY53" fmla="*/ 4014 h 10000"/>
              <a:gd name="connsiteX54" fmla="*/ 6354 w 10000"/>
              <a:gd name="connsiteY54" fmla="*/ 4155 h 10000"/>
              <a:gd name="connsiteX55" fmla="*/ 6354 w 10000"/>
              <a:gd name="connsiteY55" fmla="*/ 4155 h 10000"/>
              <a:gd name="connsiteX56" fmla="*/ 6556 w 10000"/>
              <a:gd name="connsiteY56" fmla="*/ 4268 h 10000"/>
              <a:gd name="connsiteX57" fmla="*/ 6740 w 10000"/>
              <a:gd name="connsiteY57" fmla="*/ 4380 h 10000"/>
              <a:gd name="connsiteX58" fmla="*/ 7164 w 10000"/>
              <a:gd name="connsiteY58" fmla="*/ 4577 h 10000"/>
              <a:gd name="connsiteX59" fmla="*/ 7993 w 10000"/>
              <a:gd name="connsiteY59" fmla="*/ 4930 h 10000"/>
              <a:gd name="connsiteX60" fmla="*/ 8398 w 10000"/>
              <a:gd name="connsiteY60" fmla="*/ 5113 h 10000"/>
              <a:gd name="connsiteX61" fmla="*/ 8785 w 10000"/>
              <a:gd name="connsiteY61" fmla="*/ 5310 h 10000"/>
              <a:gd name="connsiteX62" fmla="*/ 8969 w 10000"/>
              <a:gd name="connsiteY62" fmla="*/ 5423 h 10000"/>
              <a:gd name="connsiteX63" fmla="*/ 9134 w 10000"/>
              <a:gd name="connsiteY63" fmla="*/ 5535 h 10000"/>
              <a:gd name="connsiteX64" fmla="*/ 9300 w 10000"/>
              <a:gd name="connsiteY64" fmla="*/ 5662 h 10000"/>
              <a:gd name="connsiteX65" fmla="*/ 9448 w 10000"/>
              <a:gd name="connsiteY65" fmla="*/ 5803 h 10000"/>
              <a:gd name="connsiteX66" fmla="*/ 9448 w 10000"/>
              <a:gd name="connsiteY66" fmla="*/ 5803 h 10000"/>
              <a:gd name="connsiteX67" fmla="*/ 9540 w 10000"/>
              <a:gd name="connsiteY67" fmla="*/ 5901 h 10000"/>
              <a:gd name="connsiteX68" fmla="*/ 9613 w 10000"/>
              <a:gd name="connsiteY68" fmla="*/ 6014 h 10000"/>
              <a:gd name="connsiteX69" fmla="*/ 9687 w 10000"/>
              <a:gd name="connsiteY69" fmla="*/ 6127 h 10000"/>
              <a:gd name="connsiteX70" fmla="*/ 9742 w 10000"/>
              <a:gd name="connsiteY70" fmla="*/ 6239 h 10000"/>
              <a:gd name="connsiteX71" fmla="*/ 9816 w 10000"/>
              <a:gd name="connsiteY71" fmla="*/ 6479 h 10000"/>
              <a:gd name="connsiteX72" fmla="*/ 9871 w 10000"/>
              <a:gd name="connsiteY72" fmla="*/ 6718 h 10000"/>
              <a:gd name="connsiteX73" fmla="*/ 9890 w 10000"/>
              <a:gd name="connsiteY73" fmla="*/ 6972 h 10000"/>
              <a:gd name="connsiteX74" fmla="*/ 9871 w 10000"/>
              <a:gd name="connsiteY74" fmla="*/ 7239 h 10000"/>
              <a:gd name="connsiteX75" fmla="*/ 9853 w 10000"/>
              <a:gd name="connsiteY75" fmla="*/ 7507 h 10000"/>
              <a:gd name="connsiteX76" fmla="*/ 9816 w 10000"/>
              <a:gd name="connsiteY76" fmla="*/ 7789 h 10000"/>
              <a:gd name="connsiteX77" fmla="*/ 9742 w 10000"/>
              <a:gd name="connsiteY77" fmla="*/ 8338 h 10000"/>
              <a:gd name="connsiteX78" fmla="*/ 9724 w 10000"/>
              <a:gd name="connsiteY78" fmla="*/ 8620 h 10000"/>
              <a:gd name="connsiteX79" fmla="*/ 9724 w 10000"/>
              <a:gd name="connsiteY79" fmla="*/ 8901 h 10000"/>
              <a:gd name="connsiteX80" fmla="*/ 9742 w 10000"/>
              <a:gd name="connsiteY80" fmla="*/ 9183 h 10000"/>
              <a:gd name="connsiteX81" fmla="*/ 9779 w 10000"/>
              <a:gd name="connsiteY81" fmla="*/ 9451 h 10000"/>
              <a:gd name="connsiteX82" fmla="*/ 9871 w 10000"/>
              <a:gd name="connsiteY82" fmla="*/ 9718 h 10000"/>
              <a:gd name="connsiteX83" fmla="*/ 9926 w 10000"/>
              <a:gd name="connsiteY83" fmla="*/ 9859 h 10000"/>
              <a:gd name="connsiteX84" fmla="*/ 10000 w 10000"/>
              <a:gd name="connsiteY84" fmla="*/ 9986 h 10000"/>
              <a:gd name="connsiteX85" fmla="*/ 10000 w 10000"/>
              <a:gd name="connsiteY85" fmla="*/ 9986 h 10000"/>
              <a:gd name="connsiteX86" fmla="*/ 8987 w 10000"/>
              <a:gd name="connsiteY86" fmla="*/ 10000 h 10000"/>
              <a:gd name="connsiteX87" fmla="*/ 8748 w 10000"/>
              <a:gd name="connsiteY87" fmla="*/ 10000 h 10000"/>
              <a:gd name="connsiteX88" fmla="*/ 8527 w 10000"/>
              <a:gd name="connsiteY88" fmla="*/ 9972 h 10000"/>
              <a:gd name="connsiteX89" fmla="*/ 8343 w 10000"/>
              <a:gd name="connsiteY89" fmla="*/ 9915 h 10000"/>
              <a:gd name="connsiteX90" fmla="*/ 8287 w 10000"/>
              <a:gd name="connsiteY90" fmla="*/ 9873 h 10000"/>
              <a:gd name="connsiteX91" fmla="*/ 8232 w 10000"/>
              <a:gd name="connsiteY91" fmla="*/ 9817 h 10000"/>
              <a:gd name="connsiteX92" fmla="*/ 8232 w 10000"/>
              <a:gd name="connsiteY92" fmla="*/ 9817 h 10000"/>
              <a:gd name="connsiteX93" fmla="*/ 8177 w 10000"/>
              <a:gd name="connsiteY93" fmla="*/ 9803 h 10000"/>
              <a:gd name="connsiteX94" fmla="*/ 8140 w 10000"/>
              <a:gd name="connsiteY94" fmla="*/ 9817 h 10000"/>
              <a:gd name="connsiteX95" fmla="*/ 8122 w 10000"/>
              <a:gd name="connsiteY95" fmla="*/ 9845 h 10000"/>
              <a:gd name="connsiteX96" fmla="*/ 8122 w 10000"/>
              <a:gd name="connsiteY96" fmla="*/ 9887 h 10000"/>
              <a:gd name="connsiteX97" fmla="*/ 8122 w 10000"/>
              <a:gd name="connsiteY97" fmla="*/ 9958 h 10000"/>
              <a:gd name="connsiteX98" fmla="*/ 8103 w 10000"/>
              <a:gd name="connsiteY98" fmla="*/ 9986 h 10000"/>
              <a:gd name="connsiteX99" fmla="*/ 8066 w 10000"/>
              <a:gd name="connsiteY99" fmla="*/ 9986 h 10000"/>
              <a:gd name="connsiteX100" fmla="*/ 8066 w 10000"/>
              <a:gd name="connsiteY100" fmla="*/ 9986 h 10000"/>
              <a:gd name="connsiteX101" fmla="*/ 1989 w 10000"/>
              <a:gd name="connsiteY101" fmla="*/ 9986 h 10000"/>
              <a:gd name="connsiteX102" fmla="*/ 1989 w 10000"/>
              <a:gd name="connsiteY102" fmla="*/ 9986 h 10000"/>
              <a:gd name="connsiteX103" fmla="*/ 1989 w 10000"/>
              <a:gd name="connsiteY103" fmla="*/ 9873 h 10000"/>
              <a:gd name="connsiteX104" fmla="*/ 1989 w 10000"/>
              <a:gd name="connsiteY104" fmla="*/ 9746 h 10000"/>
              <a:gd name="connsiteX105" fmla="*/ 1989 w 10000"/>
              <a:gd name="connsiteY105" fmla="*/ 9648 h 10000"/>
              <a:gd name="connsiteX106" fmla="*/ 1971 w 10000"/>
              <a:gd name="connsiteY106" fmla="*/ 9606 h 10000"/>
              <a:gd name="connsiteX107" fmla="*/ 1934 w 10000"/>
              <a:gd name="connsiteY107" fmla="*/ 9563 h 10000"/>
              <a:gd name="connsiteX108" fmla="*/ 1934 w 10000"/>
              <a:gd name="connsiteY108" fmla="*/ 9563 h 10000"/>
              <a:gd name="connsiteX109" fmla="*/ 1860 w 10000"/>
              <a:gd name="connsiteY109" fmla="*/ 9592 h 10000"/>
              <a:gd name="connsiteX110" fmla="*/ 1823 w 10000"/>
              <a:gd name="connsiteY110" fmla="*/ 9620 h 10000"/>
              <a:gd name="connsiteX111" fmla="*/ 1786 w 10000"/>
              <a:gd name="connsiteY111" fmla="*/ 9676 h 10000"/>
              <a:gd name="connsiteX112" fmla="*/ 1768 w 10000"/>
              <a:gd name="connsiteY112" fmla="*/ 9732 h 10000"/>
              <a:gd name="connsiteX113" fmla="*/ 1750 w 10000"/>
              <a:gd name="connsiteY113" fmla="*/ 9859 h 10000"/>
              <a:gd name="connsiteX114" fmla="*/ 1713 w 10000"/>
              <a:gd name="connsiteY114" fmla="*/ 9986 h 10000"/>
              <a:gd name="connsiteX115" fmla="*/ 1713 w 10000"/>
              <a:gd name="connsiteY115" fmla="*/ 9986 h 10000"/>
              <a:gd name="connsiteX116" fmla="*/ 0 w 10000"/>
              <a:gd name="connsiteY116" fmla="*/ 9986 h 10000"/>
              <a:gd name="connsiteX117" fmla="*/ 0 w 10000"/>
              <a:gd name="connsiteY117" fmla="*/ 9986 h 10000"/>
              <a:gd name="connsiteX118" fmla="*/ 110 w 10000"/>
              <a:gd name="connsiteY118" fmla="*/ 9775 h 10000"/>
              <a:gd name="connsiteX119" fmla="*/ 203 w 10000"/>
              <a:gd name="connsiteY119" fmla="*/ 9549 h 10000"/>
              <a:gd name="connsiteX120" fmla="*/ 258 w 10000"/>
              <a:gd name="connsiteY120" fmla="*/ 9310 h 10000"/>
              <a:gd name="connsiteX121" fmla="*/ 295 w 10000"/>
              <a:gd name="connsiteY121" fmla="*/ 9056 h 10000"/>
              <a:gd name="connsiteX122" fmla="*/ 295 w 10000"/>
              <a:gd name="connsiteY122" fmla="*/ 8789 h 10000"/>
              <a:gd name="connsiteX123" fmla="*/ 295 w 10000"/>
              <a:gd name="connsiteY123" fmla="*/ 8521 h 10000"/>
              <a:gd name="connsiteX124" fmla="*/ 258 w 10000"/>
              <a:gd name="connsiteY124" fmla="*/ 7972 h 10000"/>
              <a:gd name="connsiteX125" fmla="*/ 203 w 10000"/>
              <a:gd name="connsiteY125" fmla="*/ 7437 h 10000"/>
              <a:gd name="connsiteX126" fmla="*/ 166 w 10000"/>
              <a:gd name="connsiteY126" fmla="*/ 6915 h 10000"/>
              <a:gd name="connsiteX127" fmla="*/ 166 w 10000"/>
              <a:gd name="connsiteY127" fmla="*/ 6662 h 10000"/>
              <a:gd name="connsiteX128" fmla="*/ 184 w 10000"/>
              <a:gd name="connsiteY128" fmla="*/ 6437 h 10000"/>
              <a:gd name="connsiteX129" fmla="*/ 221 w 10000"/>
              <a:gd name="connsiteY129" fmla="*/ 6211 h 10000"/>
              <a:gd name="connsiteX130" fmla="*/ 276 w 10000"/>
              <a:gd name="connsiteY130" fmla="*/ 6014 h 10000"/>
              <a:gd name="connsiteX131" fmla="*/ 276 w 10000"/>
              <a:gd name="connsiteY131" fmla="*/ 6014 h 10000"/>
              <a:gd name="connsiteX132" fmla="*/ 331 w 10000"/>
              <a:gd name="connsiteY132" fmla="*/ 5887 h 10000"/>
              <a:gd name="connsiteX133" fmla="*/ 405 w 10000"/>
              <a:gd name="connsiteY133" fmla="*/ 5775 h 10000"/>
              <a:gd name="connsiteX134" fmla="*/ 497 w 10000"/>
              <a:gd name="connsiteY134" fmla="*/ 5676 h 10000"/>
              <a:gd name="connsiteX135" fmla="*/ 608 w 10000"/>
              <a:gd name="connsiteY135" fmla="*/ 5577 h 10000"/>
              <a:gd name="connsiteX136" fmla="*/ 718 w 10000"/>
              <a:gd name="connsiteY136" fmla="*/ 5493 h 10000"/>
              <a:gd name="connsiteX137" fmla="*/ 847 w 10000"/>
              <a:gd name="connsiteY137" fmla="*/ 5408 h 10000"/>
              <a:gd name="connsiteX138" fmla="*/ 976 w 10000"/>
              <a:gd name="connsiteY138" fmla="*/ 5338 h 10000"/>
              <a:gd name="connsiteX139" fmla="*/ 1123 w 10000"/>
              <a:gd name="connsiteY139" fmla="*/ 5268 h 10000"/>
              <a:gd name="connsiteX140" fmla="*/ 1436 w 10000"/>
              <a:gd name="connsiteY140" fmla="*/ 5155 h 10000"/>
              <a:gd name="connsiteX141" fmla="*/ 1768 w 10000"/>
              <a:gd name="connsiteY141" fmla="*/ 5042 h 10000"/>
              <a:gd name="connsiteX142" fmla="*/ 2431 w 10000"/>
              <a:gd name="connsiteY142" fmla="*/ 4831 h 10000"/>
              <a:gd name="connsiteX143" fmla="*/ 2431 w 10000"/>
              <a:gd name="connsiteY143" fmla="*/ 4831 h 10000"/>
              <a:gd name="connsiteX144" fmla="*/ 2615 w 10000"/>
              <a:gd name="connsiteY144" fmla="*/ 4761 h 10000"/>
              <a:gd name="connsiteX145" fmla="*/ 2799 w 10000"/>
              <a:gd name="connsiteY145" fmla="*/ 4676 h 10000"/>
              <a:gd name="connsiteX146" fmla="*/ 3131 w 10000"/>
              <a:gd name="connsiteY146" fmla="*/ 4507 h 10000"/>
              <a:gd name="connsiteX147" fmla="*/ 3297 w 10000"/>
              <a:gd name="connsiteY147" fmla="*/ 4423 h 10000"/>
              <a:gd name="connsiteX148" fmla="*/ 3481 w 10000"/>
              <a:gd name="connsiteY148" fmla="*/ 4366 h 10000"/>
              <a:gd name="connsiteX149" fmla="*/ 3683 w 10000"/>
              <a:gd name="connsiteY149" fmla="*/ 4310 h 10000"/>
              <a:gd name="connsiteX150" fmla="*/ 3923 w 10000"/>
              <a:gd name="connsiteY150" fmla="*/ 4282 h 10000"/>
              <a:gd name="connsiteX151" fmla="*/ 3923 w 10000"/>
              <a:gd name="connsiteY151" fmla="*/ 4282 h 10000"/>
              <a:gd name="connsiteX152" fmla="*/ 3831 w 10000"/>
              <a:gd name="connsiteY152" fmla="*/ 3887 h 10000"/>
              <a:gd name="connsiteX153" fmla="*/ 3775 w 10000"/>
              <a:gd name="connsiteY153" fmla="*/ 3704 h 10000"/>
              <a:gd name="connsiteX154" fmla="*/ 3720 w 10000"/>
              <a:gd name="connsiteY154" fmla="*/ 3549 h 10000"/>
              <a:gd name="connsiteX155" fmla="*/ 3628 w 10000"/>
              <a:gd name="connsiteY155" fmla="*/ 3408 h 10000"/>
              <a:gd name="connsiteX156" fmla="*/ 3536 w 10000"/>
              <a:gd name="connsiteY156" fmla="*/ 3268 h 10000"/>
              <a:gd name="connsiteX157" fmla="*/ 3407 w 10000"/>
              <a:gd name="connsiteY157" fmla="*/ 3155 h 10000"/>
              <a:gd name="connsiteX158" fmla="*/ 3260 w 10000"/>
              <a:gd name="connsiteY158" fmla="*/ 3056 h 10000"/>
              <a:gd name="connsiteX159" fmla="*/ 3260 w 10000"/>
              <a:gd name="connsiteY159" fmla="*/ 3056 h 10000"/>
              <a:gd name="connsiteX160" fmla="*/ 3076 w 10000"/>
              <a:gd name="connsiteY160" fmla="*/ 2310 h 10000"/>
              <a:gd name="connsiteX161" fmla="*/ 3002 w 10000"/>
              <a:gd name="connsiteY161" fmla="*/ 1972 h 10000"/>
              <a:gd name="connsiteX162" fmla="*/ 2983 w 10000"/>
              <a:gd name="connsiteY162" fmla="*/ 1817 h 10000"/>
              <a:gd name="connsiteX163" fmla="*/ 2983 w 10000"/>
              <a:gd name="connsiteY163" fmla="*/ 1662 h 10000"/>
              <a:gd name="connsiteX164" fmla="*/ 2983 w 10000"/>
              <a:gd name="connsiteY164" fmla="*/ 1507 h 10000"/>
              <a:gd name="connsiteX165" fmla="*/ 3002 w 10000"/>
              <a:gd name="connsiteY165" fmla="*/ 1366 h 10000"/>
              <a:gd name="connsiteX166" fmla="*/ 3039 w 10000"/>
              <a:gd name="connsiteY166" fmla="*/ 1211 h 10000"/>
              <a:gd name="connsiteX167" fmla="*/ 3094 w 10000"/>
              <a:gd name="connsiteY167" fmla="*/ 1070 h 10000"/>
              <a:gd name="connsiteX168" fmla="*/ 3168 w 10000"/>
              <a:gd name="connsiteY168" fmla="*/ 930 h 10000"/>
              <a:gd name="connsiteX169" fmla="*/ 3260 w 10000"/>
              <a:gd name="connsiteY169" fmla="*/ 789 h 10000"/>
              <a:gd name="connsiteX170" fmla="*/ 3389 w 10000"/>
              <a:gd name="connsiteY170" fmla="*/ 662 h 10000"/>
              <a:gd name="connsiteX171" fmla="*/ 3536 w 10000"/>
              <a:gd name="connsiteY171" fmla="*/ 521 h 10000"/>
              <a:gd name="connsiteX172" fmla="*/ 3536 w 10000"/>
              <a:gd name="connsiteY172" fmla="*/ 521 h 10000"/>
              <a:gd name="connsiteX173" fmla="*/ 3610 w 10000"/>
              <a:gd name="connsiteY173" fmla="*/ 521 h 10000"/>
              <a:gd name="connsiteX174" fmla="*/ 3683 w 10000"/>
              <a:gd name="connsiteY174" fmla="*/ 521 h 10000"/>
              <a:gd name="connsiteX175" fmla="*/ 3794 w 10000"/>
              <a:gd name="connsiteY175" fmla="*/ 507 h 10000"/>
              <a:gd name="connsiteX176" fmla="*/ 3904 w 10000"/>
              <a:gd name="connsiteY176" fmla="*/ 479 h 10000"/>
              <a:gd name="connsiteX177" fmla="*/ 3959 w 10000"/>
              <a:gd name="connsiteY177" fmla="*/ 479 h 10000"/>
              <a:gd name="connsiteX178" fmla="*/ 4033 w 10000"/>
              <a:gd name="connsiteY178" fmla="*/ 479 h 10000"/>
              <a:gd name="connsiteX179" fmla="*/ 4033 w 10000"/>
              <a:gd name="connsiteY179" fmla="*/ 479 h 10000"/>
              <a:gd name="connsiteX180" fmla="*/ 4088 w 10000"/>
              <a:gd name="connsiteY180" fmla="*/ 437 h 10000"/>
              <a:gd name="connsiteX181" fmla="*/ 4144 w 10000"/>
              <a:gd name="connsiteY181" fmla="*/ 380 h 10000"/>
              <a:gd name="connsiteX182" fmla="*/ 4217 w 10000"/>
              <a:gd name="connsiteY182" fmla="*/ 254 h 10000"/>
              <a:gd name="connsiteX183" fmla="*/ 4273 w 10000"/>
              <a:gd name="connsiteY183" fmla="*/ 127 h 10000"/>
              <a:gd name="connsiteX184" fmla="*/ 4309 w 10000"/>
              <a:gd name="connsiteY184" fmla="*/ 70 h 10000"/>
              <a:gd name="connsiteX185" fmla="*/ 4365 w 10000"/>
              <a:gd name="connsiteY185" fmla="*/ 14 h 10000"/>
              <a:gd name="connsiteX186" fmla="*/ 4365 w 10000"/>
              <a:gd name="connsiteY186" fmla="*/ 1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000" h="10000">
                <a:moveTo>
                  <a:pt x="4365" y="14"/>
                </a:moveTo>
                <a:lnTo>
                  <a:pt x="4365" y="14"/>
                </a:lnTo>
                <a:cubicBezTo>
                  <a:pt x="4389" y="9"/>
                  <a:pt x="4414" y="5"/>
                  <a:pt x="4438" y="0"/>
                </a:cubicBezTo>
                <a:lnTo>
                  <a:pt x="4457" y="0"/>
                </a:lnTo>
                <a:lnTo>
                  <a:pt x="4457" y="14"/>
                </a:lnTo>
                <a:cubicBezTo>
                  <a:pt x="4451" y="23"/>
                  <a:pt x="4444" y="33"/>
                  <a:pt x="4438" y="42"/>
                </a:cubicBezTo>
                <a:lnTo>
                  <a:pt x="4401" y="85"/>
                </a:lnTo>
                <a:cubicBezTo>
                  <a:pt x="4364" y="122"/>
                  <a:pt x="4328" y="160"/>
                  <a:pt x="4291" y="197"/>
                </a:cubicBezTo>
                <a:cubicBezTo>
                  <a:pt x="4279" y="216"/>
                  <a:pt x="4266" y="235"/>
                  <a:pt x="4254" y="254"/>
                </a:cubicBezTo>
                <a:lnTo>
                  <a:pt x="4254" y="310"/>
                </a:lnTo>
                <a:lnTo>
                  <a:pt x="4254" y="310"/>
                </a:lnTo>
                <a:lnTo>
                  <a:pt x="4678" y="254"/>
                </a:lnTo>
                <a:lnTo>
                  <a:pt x="4880" y="239"/>
                </a:lnTo>
                <a:lnTo>
                  <a:pt x="5083" y="239"/>
                </a:lnTo>
                <a:lnTo>
                  <a:pt x="5304" y="239"/>
                </a:lnTo>
                <a:lnTo>
                  <a:pt x="5506" y="254"/>
                </a:lnTo>
                <a:lnTo>
                  <a:pt x="5709" y="282"/>
                </a:lnTo>
                <a:lnTo>
                  <a:pt x="5893" y="310"/>
                </a:lnTo>
                <a:lnTo>
                  <a:pt x="6077" y="366"/>
                </a:lnTo>
                <a:lnTo>
                  <a:pt x="6243" y="437"/>
                </a:lnTo>
                <a:lnTo>
                  <a:pt x="6409" y="507"/>
                </a:lnTo>
                <a:lnTo>
                  <a:pt x="6556" y="606"/>
                </a:lnTo>
                <a:lnTo>
                  <a:pt x="6685" y="718"/>
                </a:lnTo>
                <a:lnTo>
                  <a:pt x="6796" y="845"/>
                </a:lnTo>
                <a:cubicBezTo>
                  <a:pt x="6827" y="892"/>
                  <a:pt x="6857" y="939"/>
                  <a:pt x="6888" y="986"/>
                </a:cubicBezTo>
                <a:cubicBezTo>
                  <a:pt x="6912" y="1042"/>
                  <a:pt x="6937" y="1099"/>
                  <a:pt x="6961" y="1155"/>
                </a:cubicBezTo>
                <a:lnTo>
                  <a:pt x="6961" y="1155"/>
                </a:lnTo>
                <a:cubicBezTo>
                  <a:pt x="6967" y="1193"/>
                  <a:pt x="6974" y="1230"/>
                  <a:pt x="6980" y="1268"/>
                </a:cubicBezTo>
                <a:cubicBezTo>
                  <a:pt x="6986" y="1305"/>
                  <a:pt x="6992" y="1343"/>
                  <a:pt x="6998" y="1380"/>
                </a:cubicBezTo>
                <a:cubicBezTo>
                  <a:pt x="6992" y="1418"/>
                  <a:pt x="6986" y="1455"/>
                  <a:pt x="6980" y="1493"/>
                </a:cubicBezTo>
                <a:cubicBezTo>
                  <a:pt x="6974" y="1531"/>
                  <a:pt x="6967" y="1568"/>
                  <a:pt x="6961" y="1606"/>
                </a:cubicBezTo>
                <a:cubicBezTo>
                  <a:pt x="6937" y="1672"/>
                  <a:pt x="6912" y="1737"/>
                  <a:pt x="6888" y="1803"/>
                </a:cubicBezTo>
                <a:cubicBezTo>
                  <a:pt x="6882" y="1836"/>
                  <a:pt x="6875" y="1868"/>
                  <a:pt x="6869" y="1901"/>
                </a:cubicBezTo>
                <a:lnTo>
                  <a:pt x="6851" y="2000"/>
                </a:lnTo>
                <a:lnTo>
                  <a:pt x="6851" y="2000"/>
                </a:lnTo>
                <a:lnTo>
                  <a:pt x="6851" y="2155"/>
                </a:lnTo>
                <a:cubicBezTo>
                  <a:pt x="6863" y="2207"/>
                  <a:pt x="6876" y="2258"/>
                  <a:pt x="6888" y="2310"/>
                </a:cubicBezTo>
                <a:lnTo>
                  <a:pt x="6924" y="2493"/>
                </a:lnTo>
                <a:cubicBezTo>
                  <a:pt x="6930" y="2549"/>
                  <a:pt x="6937" y="2606"/>
                  <a:pt x="6943" y="2662"/>
                </a:cubicBezTo>
                <a:cubicBezTo>
                  <a:pt x="6937" y="2690"/>
                  <a:pt x="6930" y="2718"/>
                  <a:pt x="6924" y="2746"/>
                </a:cubicBezTo>
                <a:cubicBezTo>
                  <a:pt x="6918" y="2774"/>
                  <a:pt x="6912" y="2803"/>
                  <a:pt x="6906" y="2831"/>
                </a:cubicBezTo>
                <a:cubicBezTo>
                  <a:pt x="6900" y="2854"/>
                  <a:pt x="6894" y="2878"/>
                  <a:pt x="6888" y="2901"/>
                </a:cubicBezTo>
                <a:cubicBezTo>
                  <a:pt x="6876" y="2925"/>
                  <a:pt x="6863" y="2948"/>
                  <a:pt x="6851" y="2972"/>
                </a:cubicBezTo>
                <a:lnTo>
                  <a:pt x="6777" y="3028"/>
                </a:lnTo>
                <a:lnTo>
                  <a:pt x="6703" y="3070"/>
                </a:lnTo>
                <a:cubicBezTo>
                  <a:pt x="6666" y="3084"/>
                  <a:pt x="6630" y="3099"/>
                  <a:pt x="6593" y="3113"/>
                </a:cubicBezTo>
                <a:lnTo>
                  <a:pt x="6464" y="3141"/>
                </a:lnTo>
                <a:lnTo>
                  <a:pt x="6464" y="3141"/>
                </a:lnTo>
                <a:lnTo>
                  <a:pt x="6464" y="3268"/>
                </a:lnTo>
                <a:cubicBezTo>
                  <a:pt x="6452" y="3310"/>
                  <a:pt x="6439" y="3352"/>
                  <a:pt x="6427" y="3394"/>
                </a:cubicBezTo>
                <a:cubicBezTo>
                  <a:pt x="6396" y="3479"/>
                  <a:pt x="6366" y="3563"/>
                  <a:pt x="6335" y="3648"/>
                </a:cubicBezTo>
                <a:cubicBezTo>
                  <a:pt x="6323" y="3690"/>
                  <a:pt x="6310" y="3733"/>
                  <a:pt x="6298" y="3775"/>
                </a:cubicBezTo>
                <a:cubicBezTo>
                  <a:pt x="6292" y="3812"/>
                  <a:pt x="6286" y="3850"/>
                  <a:pt x="6280" y="3887"/>
                </a:cubicBezTo>
                <a:cubicBezTo>
                  <a:pt x="6286" y="3929"/>
                  <a:pt x="6292" y="3972"/>
                  <a:pt x="6298" y="4014"/>
                </a:cubicBezTo>
                <a:cubicBezTo>
                  <a:pt x="6317" y="4061"/>
                  <a:pt x="6335" y="4108"/>
                  <a:pt x="6354" y="4155"/>
                </a:cubicBezTo>
                <a:lnTo>
                  <a:pt x="6354" y="4155"/>
                </a:lnTo>
                <a:lnTo>
                  <a:pt x="6556" y="4268"/>
                </a:lnTo>
                <a:lnTo>
                  <a:pt x="6740" y="4380"/>
                </a:lnTo>
                <a:lnTo>
                  <a:pt x="7164" y="4577"/>
                </a:lnTo>
                <a:lnTo>
                  <a:pt x="7993" y="4930"/>
                </a:lnTo>
                <a:lnTo>
                  <a:pt x="8398" y="5113"/>
                </a:lnTo>
                <a:lnTo>
                  <a:pt x="8785" y="5310"/>
                </a:lnTo>
                <a:lnTo>
                  <a:pt x="8969" y="5423"/>
                </a:lnTo>
                <a:lnTo>
                  <a:pt x="9134" y="5535"/>
                </a:lnTo>
                <a:lnTo>
                  <a:pt x="9300" y="5662"/>
                </a:lnTo>
                <a:lnTo>
                  <a:pt x="9448" y="5803"/>
                </a:lnTo>
                <a:lnTo>
                  <a:pt x="9448" y="5803"/>
                </a:lnTo>
                <a:lnTo>
                  <a:pt x="9540" y="5901"/>
                </a:lnTo>
                <a:cubicBezTo>
                  <a:pt x="9564" y="5939"/>
                  <a:pt x="9589" y="5976"/>
                  <a:pt x="9613" y="6014"/>
                </a:cubicBezTo>
                <a:lnTo>
                  <a:pt x="9687" y="6127"/>
                </a:lnTo>
                <a:cubicBezTo>
                  <a:pt x="9705" y="6164"/>
                  <a:pt x="9724" y="6202"/>
                  <a:pt x="9742" y="6239"/>
                </a:cubicBezTo>
                <a:cubicBezTo>
                  <a:pt x="9767" y="6319"/>
                  <a:pt x="9791" y="6399"/>
                  <a:pt x="9816" y="6479"/>
                </a:cubicBezTo>
                <a:cubicBezTo>
                  <a:pt x="9834" y="6559"/>
                  <a:pt x="9853" y="6638"/>
                  <a:pt x="9871" y="6718"/>
                </a:cubicBezTo>
                <a:cubicBezTo>
                  <a:pt x="9877" y="6803"/>
                  <a:pt x="9884" y="6887"/>
                  <a:pt x="9890" y="6972"/>
                </a:cubicBezTo>
                <a:cubicBezTo>
                  <a:pt x="9884" y="7061"/>
                  <a:pt x="9877" y="7150"/>
                  <a:pt x="9871" y="7239"/>
                </a:cubicBezTo>
                <a:cubicBezTo>
                  <a:pt x="9865" y="7328"/>
                  <a:pt x="9859" y="7418"/>
                  <a:pt x="9853" y="7507"/>
                </a:cubicBezTo>
                <a:cubicBezTo>
                  <a:pt x="9841" y="7601"/>
                  <a:pt x="9828" y="7695"/>
                  <a:pt x="9816" y="7789"/>
                </a:cubicBezTo>
                <a:cubicBezTo>
                  <a:pt x="9791" y="7972"/>
                  <a:pt x="9767" y="8155"/>
                  <a:pt x="9742" y="8338"/>
                </a:cubicBezTo>
                <a:lnTo>
                  <a:pt x="9724" y="8620"/>
                </a:lnTo>
                <a:lnTo>
                  <a:pt x="9724" y="8901"/>
                </a:lnTo>
                <a:lnTo>
                  <a:pt x="9742" y="9183"/>
                </a:lnTo>
                <a:cubicBezTo>
                  <a:pt x="9754" y="9272"/>
                  <a:pt x="9767" y="9362"/>
                  <a:pt x="9779" y="9451"/>
                </a:cubicBezTo>
                <a:cubicBezTo>
                  <a:pt x="9810" y="9540"/>
                  <a:pt x="9840" y="9629"/>
                  <a:pt x="9871" y="9718"/>
                </a:cubicBezTo>
                <a:cubicBezTo>
                  <a:pt x="9889" y="9765"/>
                  <a:pt x="9908" y="9812"/>
                  <a:pt x="9926" y="9859"/>
                </a:cubicBezTo>
                <a:cubicBezTo>
                  <a:pt x="9951" y="9901"/>
                  <a:pt x="9975" y="9944"/>
                  <a:pt x="10000" y="9986"/>
                </a:cubicBezTo>
                <a:lnTo>
                  <a:pt x="10000" y="9986"/>
                </a:lnTo>
                <a:lnTo>
                  <a:pt x="8987" y="10000"/>
                </a:lnTo>
                <a:lnTo>
                  <a:pt x="8748" y="10000"/>
                </a:lnTo>
                <a:lnTo>
                  <a:pt x="8527" y="9972"/>
                </a:lnTo>
                <a:lnTo>
                  <a:pt x="8343" y="9915"/>
                </a:lnTo>
                <a:cubicBezTo>
                  <a:pt x="8324" y="9901"/>
                  <a:pt x="8306" y="9887"/>
                  <a:pt x="8287" y="9873"/>
                </a:cubicBezTo>
                <a:cubicBezTo>
                  <a:pt x="8269" y="9854"/>
                  <a:pt x="8250" y="9836"/>
                  <a:pt x="8232" y="9817"/>
                </a:cubicBezTo>
                <a:lnTo>
                  <a:pt x="8232" y="9817"/>
                </a:lnTo>
                <a:cubicBezTo>
                  <a:pt x="8214" y="9812"/>
                  <a:pt x="8195" y="9808"/>
                  <a:pt x="8177" y="9803"/>
                </a:cubicBezTo>
                <a:cubicBezTo>
                  <a:pt x="8165" y="9808"/>
                  <a:pt x="8152" y="9812"/>
                  <a:pt x="8140" y="9817"/>
                </a:cubicBezTo>
                <a:cubicBezTo>
                  <a:pt x="8134" y="9826"/>
                  <a:pt x="8128" y="9836"/>
                  <a:pt x="8122" y="9845"/>
                </a:cubicBezTo>
                <a:lnTo>
                  <a:pt x="8122" y="9887"/>
                </a:lnTo>
                <a:lnTo>
                  <a:pt x="8122" y="9958"/>
                </a:lnTo>
                <a:cubicBezTo>
                  <a:pt x="8116" y="9967"/>
                  <a:pt x="8109" y="9977"/>
                  <a:pt x="8103" y="9986"/>
                </a:cubicBezTo>
                <a:lnTo>
                  <a:pt x="8066" y="9986"/>
                </a:lnTo>
                <a:lnTo>
                  <a:pt x="8066" y="9986"/>
                </a:lnTo>
                <a:lnTo>
                  <a:pt x="1989" y="9986"/>
                </a:lnTo>
                <a:lnTo>
                  <a:pt x="1989" y="9986"/>
                </a:lnTo>
                <a:lnTo>
                  <a:pt x="1989" y="9873"/>
                </a:lnTo>
                <a:lnTo>
                  <a:pt x="1989" y="9746"/>
                </a:lnTo>
                <a:lnTo>
                  <a:pt x="1989" y="9648"/>
                </a:lnTo>
                <a:lnTo>
                  <a:pt x="1971" y="9606"/>
                </a:lnTo>
                <a:lnTo>
                  <a:pt x="1934" y="9563"/>
                </a:lnTo>
                <a:lnTo>
                  <a:pt x="1934" y="9563"/>
                </a:lnTo>
                <a:lnTo>
                  <a:pt x="1860" y="9592"/>
                </a:lnTo>
                <a:lnTo>
                  <a:pt x="1823" y="9620"/>
                </a:lnTo>
                <a:cubicBezTo>
                  <a:pt x="1811" y="9639"/>
                  <a:pt x="1798" y="9657"/>
                  <a:pt x="1786" y="9676"/>
                </a:cubicBezTo>
                <a:cubicBezTo>
                  <a:pt x="1780" y="9695"/>
                  <a:pt x="1774" y="9713"/>
                  <a:pt x="1768" y="9732"/>
                </a:cubicBezTo>
                <a:cubicBezTo>
                  <a:pt x="1762" y="9774"/>
                  <a:pt x="1756" y="9817"/>
                  <a:pt x="1750" y="9859"/>
                </a:cubicBezTo>
                <a:cubicBezTo>
                  <a:pt x="1738" y="9901"/>
                  <a:pt x="1725" y="9944"/>
                  <a:pt x="1713" y="9986"/>
                </a:cubicBezTo>
                <a:lnTo>
                  <a:pt x="1713" y="9986"/>
                </a:lnTo>
                <a:lnTo>
                  <a:pt x="0" y="9986"/>
                </a:lnTo>
                <a:lnTo>
                  <a:pt x="0" y="9986"/>
                </a:lnTo>
                <a:cubicBezTo>
                  <a:pt x="37" y="9916"/>
                  <a:pt x="73" y="9845"/>
                  <a:pt x="110" y="9775"/>
                </a:cubicBezTo>
                <a:cubicBezTo>
                  <a:pt x="141" y="9700"/>
                  <a:pt x="172" y="9624"/>
                  <a:pt x="203" y="9549"/>
                </a:cubicBezTo>
                <a:cubicBezTo>
                  <a:pt x="221" y="9469"/>
                  <a:pt x="240" y="9390"/>
                  <a:pt x="258" y="9310"/>
                </a:cubicBezTo>
                <a:cubicBezTo>
                  <a:pt x="270" y="9225"/>
                  <a:pt x="283" y="9141"/>
                  <a:pt x="295" y="9056"/>
                </a:cubicBezTo>
                <a:lnTo>
                  <a:pt x="295" y="8789"/>
                </a:lnTo>
                <a:lnTo>
                  <a:pt x="295" y="8521"/>
                </a:lnTo>
                <a:cubicBezTo>
                  <a:pt x="283" y="8338"/>
                  <a:pt x="270" y="8155"/>
                  <a:pt x="258" y="7972"/>
                </a:cubicBezTo>
                <a:cubicBezTo>
                  <a:pt x="240" y="7794"/>
                  <a:pt x="221" y="7615"/>
                  <a:pt x="203" y="7437"/>
                </a:cubicBezTo>
                <a:cubicBezTo>
                  <a:pt x="191" y="7263"/>
                  <a:pt x="178" y="7089"/>
                  <a:pt x="166" y="6915"/>
                </a:cubicBezTo>
                <a:lnTo>
                  <a:pt x="166" y="6662"/>
                </a:lnTo>
                <a:lnTo>
                  <a:pt x="184" y="6437"/>
                </a:lnTo>
                <a:cubicBezTo>
                  <a:pt x="196" y="6362"/>
                  <a:pt x="209" y="6286"/>
                  <a:pt x="221" y="6211"/>
                </a:cubicBezTo>
                <a:cubicBezTo>
                  <a:pt x="239" y="6145"/>
                  <a:pt x="258" y="6080"/>
                  <a:pt x="276" y="6014"/>
                </a:cubicBezTo>
                <a:lnTo>
                  <a:pt x="276" y="6014"/>
                </a:lnTo>
                <a:cubicBezTo>
                  <a:pt x="294" y="5972"/>
                  <a:pt x="313" y="5929"/>
                  <a:pt x="331" y="5887"/>
                </a:cubicBezTo>
                <a:cubicBezTo>
                  <a:pt x="356" y="5850"/>
                  <a:pt x="380" y="5812"/>
                  <a:pt x="405" y="5775"/>
                </a:cubicBezTo>
                <a:cubicBezTo>
                  <a:pt x="436" y="5742"/>
                  <a:pt x="466" y="5709"/>
                  <a:pt x="497" y="5676"/>
                </a:cubicBezTo>
                <a:lnTo>
                  <a:pt x="608" y="5577"/>
                </a:lnTo>
                <a:lnTo>
                  <a:pt x="718" y="5493"/>
                </a:lnTo>
                <a:lnTo>
                  <a:pt x="847" y="5408"/>
                </a:lnTo>
                <a:lnTo>
                  <a:pt x="976" y="5338"/>
                </a:lnTo>
                <a:lnTo>
                  <a:pt x="1123" y="5268"/>
                </a:lnTo>
                <a:lnTo>
                  <a:pt x="1436" y="5155"/>
                </a:lnTo>
                <a:lnTo>
                  <a:pt x="1768" y="5042"/>
                </a:lnTo>
                <a:lnTo>
                  <a:pt x="2431" y="4831"/>
                </a:lnTo>
                <a:lnTo>
                  <a:pt x="2431" y="4831"/>
                </a:lnTo>
                <a:lnTo>
                  <a:pt x="2615" y="4761"/>
                </a:lnTo>
                <a:lnTo>
                  <a:pt x="2799" y="4676"/>
                </a:lnTo>
                <a:lnTo>
                  <a:pt x="3131" y="4507"/>
                </a:lnTo>
                <a:lnTo>
                  <a:pt x="3297" y="4423"/>
                </a:lnTo>
                <a:lnTo>
                  <a:pt x="3481" y="4366"/>
                </a:lnTo>
                <a:lnTo>
                  <a:pt x="3683" y="4310"/>
                </a:lnTo>
                <a:lnTo>
                  <a:pt x="3923" y="4282"/>
                </a:lnTo>
                <a:lnTo>
                  <a:pt x="3923" y="4282"/>
                </a:lnTo>
                <a:cubicBezTo>
                  <a:pt x="3892" y="4150"/>
                  <a:pt x="3862" y="4019"/>
                  <a:pt x="3831" y="3887"/>
                </a:cubicBezTo>
                <a:cubicBezTo>
                  <a:pt x="3812" y="3826"/>
                  <a:pt x="3794" y="3765"/>
                  <a:pt x="3775" y="3704"/>
                </a:cubicBezTo>
                <a:cubicBezTo>
                  <a:pt x="3757" y="3652"/>
                  <a:pt x="3738" y="3601"/>
                  <a:pt x="3720" y="3549"/>
                </a:cubicBezTo>
                <a:cubicBezTo>
                  <a:pt x="3689" y="3502"/>
                  <a:pt x="3659" y="3455"/>
                  <a:pt x="3628" y="3408"/>
                </a:cubicBezTo>
                <a:lnTo>
                  <a:pt x="3536" y="3268"/>
                </a:lnTo>
                <a:lnTo>
                  <a:pt x="3407" y="3155"/>
                </a:lnTo>
                <a:lnTo>
                  <a:pt x="3260" y="3056"/>
                </a:lnTo>
                <a:lnTo>
                  <a:pt x="3260" y="3056"/>
                </a:lnTo>
                <a:cubicBezTo>
                  <a:pt x="3199" y="2807"/>
                  <a:pt x="3137" y="2559"/>
                  <a:pt x="3076" y="2310"/>
                </a:cubicBezTo>
                <a:cubicBezTo>
                  <a:pt x="3051" y="2197"/>
                  <a:pt x="3027" y="2085"/>
                  <a:pt x="3002" y="1972"/>
                </a:cubicBezTo>
                <a:cubicBezTo>
                  <a:pt x="2996" y="1920"/>
                  <a:pt x="2989" y="1869"/>
                  <a:pt x="2983" y="1817"/>
                </a:cubicBezTo>
                <a:lnTo>
                  <a:pt x="2983" y="1662"/>
                </a:lnTo>
                <a:lnTo>
                  <a:pt x="2983" y="1507"/>
                </a:lnTo>
                <a:cubicBezTo>
                  <a:pt x="2989" y="1460"/>
                  <a:pt x="2996" y="1413"/>
                  <a:pt x="3002" y="1366"/>
                </a:cubicBezTo>
                <a:cubicBezTo>
                  <a:pt x="3014" y="1314"/>
                  <a:pt x="3027" y="1263"/>
                  <a:pt x="3039" y="1211"/>
                </a:cubicBezTo>
                <a:cubicBezTo>
                  <a:pt x="3057" y="1164"/>
                  <a:pt x="3076" y="1117"/>
                  <a:pt x="3094" y="1070"/>
                </a:cubicBezTo>
                <a:cubicBezTo>
                  <a:pt x="3119" y="1023"/>
                  <a:pt x="3143" y="977"/>
                  <a:pt x="3168" y="930"/>
                </a:cubicBezTo>
                <a:cubicBezTo>
                  <a:pt x="3199" y="883"/>
                  <a:pt x="3229" y="836"/>
                  <a:pt x="3260" y="789"/>
                </a:cubicBezTo>
                <a:lnTo>
                  <a:pt x="3389" y="662"/>
                </a:lnTo>
                <a:lnTo>
                  <a:pt x="3536" y="521"/>
                </a:lnTo>
                <a:lnTo>
                  <a:pt x="3536" y="521"/>
                </a:lnTo>
                <a:lnTo>
                  <a:pt x="3610" y="521"/>
                </a:lnTo>
                <a:lnTo>
                  <a:pt x="3683" y="521"/>
                </a:lnTo>
                <a:lnTo>
                  <a:pt x="3794" y="507"/>
                </a:lnTo>
                <a:cubicBezTo>
                  <a:pt x="3831" y="498"/>
                  <a:pt x="3867" y="488"/>
                  <a:pt x="3904" y="479"/>
                </a:cubicBezTo>
                <a:lnTo>
                  <a:pt x="3959" y="479"/>
                </a:lnTo>
                <a:lnTo>
                  <a:pt x="4033" y="479"/>
                </a:lnTo>
                <a:lnTo>
                  <a:pt x="4033" y="479"/>
                </a:lnTo>
                <a:cubicBezTo>
                  <a:pt x="4051" y="465"/>
                  <a:pt x="4070" y="451"/>
                  <a:pt x="4088" y="437"/>
                </a:cubicBezTo>
                <a:cubicBezTo>
                  <a:pt x="4107" y="418"/>
                  <a:pt x="4125" y="399"/>
                  <a:pt x="4144" y="380"/>
                </a:cubicBezTo>
                <a:cubicBezTo>
                  <a:pt x="4168" y="338"/>
                  <a:pt x="4193" y="296"/>
                  <a:pt x="4217" y="254"/>
                </a:cubicBezTo>
                <a:cubicBezTo>
                  <a:pt x="4236" y="212"/>
                  <a:pt x="4254" y="169"/>
                  <a:pt x="4273" y="127"/>
                </a:cubicBezTo>
                <a:lnTo>
                  <a:pt x="4309" y="70"/>
                </a:lnTo>
                <a:lnTo>
                  <a:pt x="4365" y="14"/>
                </a:lnTo>
                <a:lnTo>
                  <a:pt x="4365" y="1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reeform 26">
            <a:extLst>
              <a:ext uri="{FF2B5EF4-FFF2-40B4-BE49-F238E27FC236}">
                <a16:creationId xmlns:a16="http://schemas.microsoft.com/office/drawing/2014/main" id="{8F27D88E-AFE0-4FD8-A73D-C6BACD9C1F25}"/>
              </a:ext>
            </a:extLst>
          </p:cNvPr>
          <p:cNvSpPr>
            <a:spLocks/>
          </p:cNvSpPr>
          <p:nvPr/>
        </p:nvSpPr>
        <p:spPr bwMode="auto">
          <a:xfrm>
            <a:off x="3987844" y="4114254"/>
            <a:ext cx="895992" cy="1251860"/>
          </a:xfrm>
          <a:custGeom>
            <a:avLst/>
            <a:gdLst>
              <a:gd name="T0" fmla="*/ 890 w 992"/>
              <a:gd name="T1" fmla="*/ 560 h 1386"/>
              <a:gd name="T2" fmla="*/ 868 w 992"/>
              <a:gd name="T3" fmla="*/ 496 h 1386"/>
              <a:gd name="T4" fmla="*/ 834 w 992"/>
              <a:gd name="T5" fmla="*/ 474 h 1386"/>
              <a:gd name="T6" fmla="*/ 880 w 992"/>
              <a:gd name="T7" fmla="*/ 650 h 1386"/>
              <a:gd name="T8" fmla="*/ 894 w 992"/>
              <a:gd name="T9" fmla="*/ 768 h 1386"/>
              <a:gd name="T10" fmla="*/ 928 w 992"/>
              <a:gd name="T11" fmla="*/ 794 h 1386"/>
              <a:gd name="T12" fmla="*/ 974 w 992"/>
              <a:gd name="T13" fmla="*/ 792 h 1386"/>
              <a:gd name="T14" fmla="*/ 990 w 992"/>
              <a:gd name="T15" fmla="*/ 768 h 1386"/>
              <a:gd name="T16" fmla="*/ 992 w 992"/>
              <a:gd name="T17" fmla="*/ 786 h 1386"/>
              <a:gd name="T18" fmla="*/ 958 w 992"/>
              <a:gd name="T19" fmla="*/ 814 h 1386"/>
              <a:gd name="T20" fmla="*/ 912 w 992"/>
              <a:gd name="T21" fmla="*/ 810 h 1386"/>
              <a:gd name="T22" fmla="*/ 906 w 992"/>
              <a:gd name="T23" fmla="*/ 882 h 1386"/>
              <a:gd name="T24" fmla="*/ 922 w 992"/>
              <a:gd name="T25" fmla="*/ 888 h 1386"/>
              <a:gd name="T26" fmla="*/ 948 w 992"/>
              <a:gd name="T27" fmla="*/ 876 h 1386"/>
              <a:gd name="T28" fmla="*/ 950 w 992"/>
              <a:gd name="T29" fmla="*/ 890 h 1386"/>
              <a:gd name="T30" fmla="*/ 918 w 992"/>
              <a:gd name="T31" fmla="*/ 906 h 1386"/>
              <a:gd name="T32" fmla="*/ 932 w 992"/>
              <a:gd name="T33" fmla="*/ 926 h 1386"/>
              <a:gd name="T34" fmla="*/ 918 w 992"/>
              <a:gd name="T35" fmla="*/ 934 h 1386"/>
              <a:gd name="T36" fmla="*/ 948 w 992"/>
              <a:gd name="T37" fmla="*/ 936 h 1386"/>
              <a:gd name="T38" fmla="*/ 934 w 992"/>
              <a:gd name="T39" fmla="*/ 950 h 1386"/>
              <a:gd name="T40" fmla="*/ 894 w 992"/>
              <a:gd name="T41" fmla="*/ 960 h 1386"/>
              <a:gd name="T42" fmla="*/ 884 w 992"/>
              <a:gd name="T43" fmla="*/ 1118 h 1386"/>
              <a:gd name="T44" fmla="*/ 898 w 992"/>
              <a:gd name="T45" fmla="*/ 1338 h 1386"/>
              <a:gd name="T46" fmla="*/ 6 w 992"/>
              <a:gd name="T47" fmla="*/ 1386 h 1386"/>
              <a:gd name="T48" fmla="*/ 26 w 992"/>
              <a:gd name="T49" fmla="*/ 1224 h 1386"/>
              <a:gd name="T50" fmla="*/ 24 w 992"/>
              <a:gd name="T51" fmla="*/ 1026 h 1386"/>
              <a:gd name="T52" fmla="*/ 4 w 992"/>
              <a:gd name="T53" fmla="*/ 900 h 1386"/>
              <a:gd name="T54" fmla="*/ 4 w 992"/>
              <a:gd name="T55" fmla="*/ 796 h 1386"/>
              <a:gd name="T56" fmla="*/ 38 w 992"/>
              <a:gd name="T57" fmla="*/ 728 h 1386"/>
              <a:gd name="T58" fmla="*/ 74 w 992"/>
              <a:gd name="T59" fmla="*/ 704 h 1386"/>
              <a:gd name="T60" fmla="*/ 148 w 992"/>
              <a:gd name="T61" fmla="*/ 678 h 1386"/>
              <a:gd name="T62" fmla="*/ 108 w 992"/>
              <a:gd name="T63" fmla="*/ 636 h 1386"/>
              <a:gd name="T64" fmla="*/ 104 w 992"/>
              <a:gd name="T65" fmla="*/ 598 h 1386"/>
              <a:gd name="T66" fmla="*/ 126 w 992"/>
              <a:gd name="T67" fmla="*/ 624 h 1386"/>
              <a:gd name="T68" fmla="*/ 164 w 992"/>
              <a:gd name="T69" fmla="*/ 658 h 1386"/>
              <a:gd name="T70" fmla="*/ 176 w 992"/>
              <a:gd name="T71" fmla="*/ 646 h 1386"/>
              <a:gd name="T72" fmla="*/ 148 w 992"/>
              <a:gd name="T73" fmla="*/ 596 h 1386"/>
              <a:gd name="T74" fmla="*/ 160 w 992"/>
              <a:gd name="T75" fmla="*/ 592 h 1386"/>
              <a:gd name="T76" fmla="*/ 180 w 992"/>
              <a:gd name="T77" fmla="*/ 636 h 1386"/>
              <a:gd name="T78" fmla="*/ 190 w 992"/>
              <a:gd name="T79" fmla="*/ 628 h 1386"/>
              <a:gd name="T80" fmla="*/ 196 w 992"/>
              <a:gd name="T81" fmla="*/ 620 h 1386"/>
              <a:gd name="T82" fmla="*/ 184 w 992"/>
              <a:gd name="T83" fmla="*/ 554 h 1386"/>
              <a:gd name="T84" fmla="*/ 202 w 992"/>
              <a:gd name="T85" fmla="*/ 420 h 1386"/>
              <a:gd name="T86" fmla="*/ 208 w 992"/>
              <a:gd name="T87" fmla="*/ 344 h 1386"/>
              <a:gd name="T88" fmla="*/ 190 w 992"/>
              <a:gd name="T89" fmla="*/ 380 h 1386"/>
              <a:gd name="T90" fmla="*/ 182 w 992"/>
              <a:gd name="T91" fmla="*/ 376 h 1386"/>
              <a:gd name="T92" fmla="*/ 210 w 992"/>
              <a:gd name="T93" fmla="*/ 324 h 1386"/>
              <a:gd name="T94" fmla="*/ 244 w 992"/>
              <a:gd name="T95" fmla="*/ 194 h 1386"/>
              <a:gd name="T96" fmla="*/ 300 w 992"/>
              <a:gd name="T97" fmla="*/ 88 h 1386"/>
              <a:gd name="T98" fmla="*/ 388 w 992"/>
              <a:gd name="T99" fmla="*/ 18 h 1386"/>
              <a:gd name="T100" fmla="*/ 516 w 992"/>
              <a:gd name="T101" fmla="*/ 0 h 1386"/>
              <a:gd name="T102" fmla="*/ 560 w 992"/>
              <a:gd name="T103" fmla="*/ 10 h 1386"/>
              <a:gd name="T104" fmla="*/ 620 w 992"/>
              <a:gd name="T105" fmla="*/ 50 h 1386"/>
              <a:gd name="T106" fmla="*/ 690 w 992"/>
              <a:gd name="T107" fmla="*/ 162 h 1386"/>
              <a:gd name="T108" fmla="*/ 770 w 992"/>
              <a:gd name="T109" fmla="*/ 302 h 1386"/>
              <a:gd name="T110" fmla="*/ 852 w 992"/>
              <a:gd name="T111" fmla="*/ 426 h 1386"/>
              <a:gd name="T112" fmla="*/ 828 w 992"/>
              <a:gd name="T113" fmla="*/ 390 h 1386"/>
              <a:gd name="T114" fmla="*/ 812 w 992"/>
              <a:gd name="T115" fmla="*/ 402 h 1386"/>
              <a:gd name="T116" fmla="*/ 850 w 992"/>
              <a:gd name="T117" fmla="*/ 472 h 1386"/>
              <a:gd name="T118" fmla="*/ 894 w 992"/>
              <a:gd name="T119" fmla="*/ 536 h 1386"/>
              <a:gd name="T120" fmla="*/ 900 w 992"/>
              <a:gd name="T121" fmla="*/ 606 h 1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92" h="1386">
                <a:moveTo>
                  <a:pt x="894" y="630"/>
                </a:moveTo>
                <a:lnTo>
                  <a:pt x="894" y="630"/>
                </a:lnTo>
                <a:lnTo>
                  <a:pt x="892" y="586"/>
                </a:lnTo>
                <a:lnTo>
                  <a:pt x="890" y="560"/>
                </a:lnTo>
                <a:lnTo>
                  <a:pt x="886" y="538"/>
                </a:lnTo>
                <a:lnTo>
                  <a:pt x="878" y="516"/>
                </a:lnTo>
                <a:lnTo>
                  <a:pt x="874" y="506"/>
                </a:lnTo>
                <a:lnTo>
                  <a:pt x="868" y="496"/>
                </a:lnTo>
                <a:lnTo>
                  <a:pt x="862" y="488"/>
                </a:lnTo>
                <a:lnTo>
                  <a:pt x="854" y="482"/>
                </a:lnTo>
                <a:lnTo>
                  <a:pt x="844" y="478"/>
                </a:lnTo>
                <a:lnTo>
                  <a:pt x="834" y="474"/>
                </a:lnTo>
                <a:lnTo>
                  <a:pt x="834" y="474"/>
                </a:lnTo>
                <a:lnTo>
                  <a:pt x="854" y="542"/>
                </a:lnTo>
                <a:lnTo>
                  <a:pt x="872" y="614"/>
                </a:lnTo>
                <a:lnTo>
                  <a:pt x="880" y="650"/>
                </a:lnTo>
                <a:lnTo>
                  <a:pt x="886" y="688"/>
                </a:lnTo>
                <a:lnTo>
                  <a:pt x="890" y="728"/>
                </a:lnTo>
                <a:lnTo>
                  <a:pt x="894" y="768"/>
                </a:lnTo>
                <a:lnTo>
                  <a:pt x="894" y="768"/>
                </a:lnTo>
                <a:lnTo>
                  <a:pt x="896" y="774"/>
                </a:lnTo>
                <a:lnTo>
                  <a:pt x="900" y="778"/>
                </a:lnTo>
                <a:lnTo>
                  <a:pt x="912" y="788"/>
                </a:lnTo>
                <a:lnTo>
                  <a:pt x="928" y="794"/>
                </a:lnTo>
                <a:lnTo>
                  <a:pt x="944" y="798"/>
                </a:lnTo>
                <a:lnTo>
                  <a:pt x="960" y="796"/>
                </a:lnTo>
                <a:lnTo>
                  <a:pt x="968" y="796"/>
                </a:lnTo>
                <a:lnTo>
                  <a:pt x="974" y="792"/>
                </a:lnTo>
                <a:lnTo>
                  <a:pt x="980" y="788"/>
                </a:lnTo>
                <a:lnTo>
                  <a:pt x="984" y="782"/>
                </a:lnTo>
                <a:lnTo>
                  <a:pt x="988" y="776"/>
                </a:lnTo>
                <a:lnTo>
                  <a:pt x="990" y="768"/>
                </a:lnTo>
                <a:lnTo>
                  <a:pt x="990" y="768"/>
                </a:lnTo>
                <a:lnTo>
                  <a:pt x="992" y="774"/>
                </a:lnTo>
                <a:lnTo>
                  <a:pt x="992" y="780"/>
                </a:lnTo>
                <a:lnTo>
                  <a:pt x="992" y="786"/>
                </a:lnTo>
                <a:lnTo>
                  <a:pt x="990" y="790"/>
                </a:lnTo>
                <a:lnTo>
                  <a:pt x="982" y="800"/>
                </a:lnTo>
                <a:lnTo>
                  <a:pt x="972" y="808"/>
                </a:lnTo>
                <a:lnTo>
                  <a:pt x="958" y="814"/>
                </a:lnTo>
                <a:lnTo>
                  <a:pt x="942" y="816"/>
                </a:lnTo>
                <a:lnTo>
                  <a:pt x="928" y="816"/>
                </a:lnTo>
                <a:lnTo>
                  <a:pt x="912" y="810"/>
                </a:lnTo>
                <a:lnTo>
                  <a:pt x="912" y="810"/>
                </a:lnTo>
                <a:lnTo>
                  <a:pt x="906" y="828"/>
                </a:lnTo>
                <a:lnTo>
                  <a:pt x="904" y="846"/>
                </a:lnTo>
                <a:lnTo>
                  <a:pt x="904" y="866"/>
                </a:lnTo>
                <a:lnTo>
                  <a:pt x="906" y="882"/>
                </a:lnTo>
                <a:lnTo>
                  <a:pt x="906" y="882"/>
                </a:lnTo>
                <a:lnTo>
                  <a:pt x="910" y="886"/>
                </a:lnTo>
                <a:lnTo>
                  <a:pt x="916" y="888"/>
                </a:lnTo>
                <a:lnTo>
                  <a:pt x="922" y="888"/>
                </a:lnTo>
                <a:lnTo>
                  <a:pt x="928" y="888"/>
                </a:lnTo>
                <a:lnTo>
                  <a:pt x="942" y="884"/>
                </a:lnTo>
                <a:lnTo>
                  <a:pt x="946" y="880"/>
                </a:lnTo>
                <a:lnTo>
                  <a:pt x="948" y="876"/>
                </a:lnTo>
                <a:lnTo>
                  <a:pt x="948" y="876"/>
                </a:lnTo>
                <a:lnTo>
                  <a:pt x="952" y="880"/>
                </a:lnTo>
                <a:lnTo>
                  <a:pt x="952" y="886"/>
                </a:lnTo>
                <a:lnTo>
                  <a:pt x="950" y="890"/>
                </a:lnTo>
                <a:lnTo>
                  <a:pt x="944" y="896"/>
                </a:lnTo>
                <a:lnTo>
                  <a:pt x="932" y="902"/>
                </a:lnTo>
                <a:lnTo>
                  <a:pt x="918" y="906"/>
                </a:lnTo>
                <a:lnTo>
                  <a:pt x="918" y="906"/>
                </a:lnTo>
                <a:lnTo>
                  <a:pt x="926" y="912"/>
                </a:lnTo>
                <a:lnTo>
                  <a:pt x="934" y="920"/>
                </a:lnTo>
                <a:lnTo>
                  <a:pt x="934" y="924"/>
                </a:lnTo>
                <a:lnTo>
                  <a:pt x="932" y="926"/>
                </a:lnTo>
                <a:lnTo>
                  <a:pt x="926" y="928"/>
                </a:lnTo>
                <a:lnTo>
                  <a:pt x="918" y="930"/>
                </a:lnTo>
                <a:lnTo>
                  <a:pt x="918" y="930"/>
                </a:lnTo>
                <a:lnTo>
                  <a:pt x="918" y="934"/>
                </a:lnTo>
                <a:lnTo>
                  <a:pt x="922" y="936"/>
                </a:lnTo>
                <a:lnTo>
                  <a:pt x="930" y="936"/>
                </a:lnTo>
                <a:lnTo>
                  <a:pt x="940" y="936"/>
                </a:lnTo>
                <a:lnTo>
                  <a:pt x="948" y="936"/>
                </a:lnTo>
                <a:lnTo>
                  <a:pt x="948" y="936"/>
                </a:lnTo>
                <a:lnTo>
                  <a:pt x="946" y="942"/>
                </a:lnTo>
                <a:lnTo>
                  <a:pt x="940" y="948"/>
                </a:lnTo>
                <a:lnTo>
                  <a:pt x="934" y="950"/>
                </a:lnTo>
                <a:lnTo>
                  <a:pt x="926" y="952"/>
                </a:lnTo>
                <a:lnTo>
                  <a:pt x="908" y="954"/>
                </a:lnTo>
                <a:lnTo>
                  <a:pt x="900" y="956"/>
                </a:lnTo>
                <a:lnTo>
                  <a:pt x="894" y="960"/>
                </a:lnTo>
                <a:lnTo>
                  <a:pt x="894" y="960"/>
                </a:lnTo>
                <a:lnTo>
                  <a:pt x="890" y="1010"/>
                </a:lnTo>
                <a:lnTo>
                  <a:pt x="886" y="1064"/>
                </a:lnTo>
                <a:lnTo>
                  <a:pt x="884" y="1118"/>
                </a:lnTo>
                <a:lnTo>
                  <a:pt x="886" y="1174"/>
                </a:lnTo>
                <a:lnTo>
                  <a:pt x="888" y="1230"/>
                </a:lnTo>
                <a:lnTo>
                  <a:pt x="892" y="1286"/>
                </a:lnTo>
                <a:lnTo>
                  <a:pt x="898" y="1338"/>
                </a:lnTo>
                <a:lnTo>
                  <a:pt x="906" y="1386"/>
                </a:lnTo>
                <a:lnTo>
                  <a:pt x="906" y="1386"/>
                </a:lnTo>
                <a:lnTo>
                  <a:pt x="6" y="1386"/>
                </a:lnTo>
                <a:lnTo>
                  <a:pt x="6" y="1386"/>
                </a:lnTo>
                <a:lnTo>
                  <a:pt x="12" y="1352"/>
                </a:lnTo>
                <a:lnTo>
                  <a:pt x="18" y="1314"/>
                </a:lnTo>
                <a:lnTo>
                  <a:pt x="22" y="1270"/>
                </a:lnTo>
                <a:lnTo>
                  <a:pt x="26" y="1224"/>
                </a:lnTo>
                <a:lnTo>
                  <a:pt x="28" y="1174"/>
                </a:lnTo>
                <a:lnTo>
                  <a:pt x="28" y="1124"/>
                </a:lnTo>
                <a:lnTo>
                  <a:pt x="28" y="1074"/>
                </a:lnTo>
                <a:lnTo>
                  <a:pt x="24" y="1026"/>
                </a:lnTo>
                <a:lnTo>
                  <a:pt x="24" y="1026"/>
                </a:lnTo>
                <a:lnTo>
                  <a:pt x="18" y="986"/>
                </a:lnTo>
                <a:lnTo>
                  <a:pt x="12" y="944"/>
                </a:lnTo>
                <a:lnTo>
                  <a:pt x="4" y="900"/>
                </a:lnTo>
                <a:lnTo>
                  <a:pt x="0" y="858"/>
                </a:lnTo>
                <a:lnTo>
                  <a:pt x="0" y="836"/>
                </a:lnTo>
                <a:lnTo>
                  <a:pt x="0" y="816"/>
                </a:lnTo>
                <a:lnTo>
                  <a:pt x="4" y="796"/>
                </a:lnTo>
                <a:lnTo>
                  <a:pt x="8" y="776"/>
                </a:lnTo>
                <a:lnTo>
                  <a:pt x="16" y="758"/>
                </a:lnTo>
                <a:lnTo>
                  <a:pt x="26" y="742"/>
                </a:lnTo>
                <a:lnTo>
                  <a:pt x="38" y="728"/>
                </a:lnTo>
                <a:lnTo>
                  <a:pt x="54" y="714"/>
                </a:lnTo>
                <a:lnTo>
                  <a:pt x="54" y="714"/>
                </a:lnTo>
                <a:lnTo>
                  <a:pt x="64" y="708"/>
                </a:lnTo>
                <a:lnTo>
                  <a:pt x="74" y="704"/>
                </a:lnTo>
                <a:lnTo>
                  <a:pt x="100" y="698"/>
                </a:lnTo>
                <a:lnTo>
                  <a:pt x="156" y="690"/>
                </a:lnTo>
                <a:lnTo>
                  <a:pt x="156" y="690"/>
                </a:lnTo>
                <a:lnTo>
                  <a:pt x="148" y="678"/>
                </a:lnTo>
                <a:lnTo>
                  <a:pt x="138" y="668"/>
                </a:lnTo>
                <a:lnTo>
                  <a:pt x="126" y="658"/>
                </a:lnTo>
                <a:lnTo>
                  <a:pt x="116" y="648"/>
                </a:lnTo>
                <a:lnTo>
                  <a:pt x="108" y="636"/>
                </a:lnTo>
                <a:lnTo>
                  <a:pt x="104" y="622"/>
                </a:lnTo>
                <a:lnTo>
                  <a:pt x="102" y="616"/>
                </a:lnTo>
                <a:lnTo>
                  <a:pt x="102" y="608"/>
                </a:lnTo>
                <a:lnTo>
                  <a:pt x="104" y="598"/>
                </a:lnTo>
                <a:lnTo>
                  <a:pt x="108" y="588"/>
                </a:lnTo>
                <a:lnTo>
                  <a:pt x="108" y="588"/>
                </a:lnTo>
                <a:lnTo>
                  <a:pt x="120" y="612"/>
                </a:lnTo>
                <a:lnTo>
                  <a:pt x="126" y="624"/>
                </a:lnTo>
                <a:lnTo>
                  <a:pt x="132" y="636"/>
                </a:lnTo>
                <a:lnTo>
                  <a:pt x="140" y="646"/>
                </a:lnTo>
                <a:lnTo>
                  <a:pt x="150" y="654"/>
                </a:lnTo>
                <a:lnTo>
                  <a:pt x="164" y="658"/>
                </a:lnTo>
                <a:lnTo>
                  <a:pt x="180" y="660"/>
                </a:lnTo>
                <a:lnTo>
                  <a:pt x="180" y="660"/>
                </a:lnTo>
                <a:lnTo>
                  <a:pt x="180" y="654"/>
                </a:lnTo>
                <a:lnTo>
                  <a:pt x="176" y="646"/>
                </a:lnTo>
                <a:lnTo>
                  <a:pt x="164" y="630"/>
                </a:lnTo>
                <a:lnTo>
                  <a:pt x="156" y="620"/>
                </a:lnTo>
                <a:lnTo>
                  <a:pt x="152" y="610"/>
                </a:lnTo>
                <a:lnTo>
                  <a:pt x="148" y="596"/>
                </a:lnTo>
                <a:lnTo>
                  <a:pt x="150" y="582"/>
                </a:lnTo>
                <a:lnTo>
                  <a:pt x="150" y="582"/>
                </a:lnTo>
                <a:lnTo>
                  <a:pt x="156" y="586"/>
                </a:lnTo>
                <a:lnTo>
                  <a:pt x="160" y="592"/>
                </a:lnTo>
                <a:lnTo>
                  <a:pt x="166" y="608"/>
                </a:lnTo>
                <a:lnTo>
                  <a:pt x="172" y="622"/>
                </a:lnTo>
                <a:lnTo>
                  <a:pt x="176" y="630"/>
                </a:lnTo>
                <a:lnTo>
                  <a:pt x="180" y="636"/>
                </a:lnTo>
                <a:lnTo>
                  <a:pt x="180" y="636"/>
                </a:lnTo>
                <a:lnTo>
                  <a:pt x="186" y="628"/>
                </a:lnTo>
                <a:lnTo>
                  <a:pt x="188" y="628"/>
                </a:lnTo>
                <a:lnTo>
                  <a:pt x="190" y="628"/>
                </a:lnTo>
                <a:lnTo>
                  <a:pt x="196" y="630"/>
                </a:lnTo>
                <a:lnTo>
                  <a:pt x="204" y="636"/>
                </a:lnTo>
                <a:lnTo>
                  <a:pt x="204" y="636"/>
                </a:lnTo>
                <a:lnTo>
                  <a:pt x="196" y="620"/>
                </a:lnTo>
                <a:lnTo>
                  <a:pt x="192" y="604"/>
                </a:lnTo>
                <a:lnTo>
                  <a:pt x="188" y="588"/>
                </a:lnTo>
                <a:lnTo>
                  <a:pt x="186" y="572"/>
                </a:lnTo>
                <a:lnTo>
                  <a:pt x="184" y="554"/>
                </a:lnTo>
                <a:lnTo>
                  <a:pt x="186" y="536"/>
                </a:lnTo>
                <a:lnTo>
                  <a:pt x="188" y="498"/>
                </a:lnTo>
                <a:lnTo>
                  <a:pt x="194" y="460"/>
                </a:lnTo>
                <a:lnTo>
                  <a:pt x="202" y="420"/>
                </a:lnTo>
                <a:lnTo>
                  <a:pt x="210" y="380"/>
                </a:lnTo>
                <a:lnTo>
                  <a:pt x="216" y="342"/>
                </a:lnTo>
                <a:lnTo>
                  <a:pt x="216" y="342"/>
                </a:lnTo>
                <a:lnTo>
                  <a:pt x="208" y="344"/>
                </a:lnTo>
                <a:lnTo>
                  <a:pt x="202" y="350"/>
                </a:lnTo>
                <a:lnTo>
                  <a:pt x="198" y="356"/>
                </a:lnTo>
                <a:lnTo>
                  <a:pt x="196" y="364"/>
                </a:lnTo>
                <a:lnTo>
                  <a:pt x="190" y="380"/>
                </a:lnTo>
                <a:lnTo>
                  <a:pt x="186" y="396"/>
                </a:lnTo>
                <a:lnTo>
                  <a:pt x="186" y="396"/>
                </a:lnTo>
                <a:lnTo>
                  <a:pt x="182" y="386"/>
                </a:lnTo>
                <a:lnTo>
                  <a:pt x="182" y="376"/>
                </a:lnTo>
                <a:lnTo>
                  <a:pt x="184" y="366"/>
                </a:lnTo>
                <a:lnTo>
                  <a:pt x="188" y="356"/>
                </a:lnTo>
                <a:lnTo>
                  <a:pt x="198" y="338"/>
                </a:lnTo>
                <a:lnTo>
                  <a:pt x="210" y="324"/>
                </a:lnTo>
                <a:lnTo>
                  <a:pt x="210" y="324"/>
                </a:lnTo>
                <a:lnTo>
                  <a:pt x="224" y="258"/>
                </a:lnTo>
                <a:lnTo>
                  <a:pt x="234" y="226"/>
                </a:lnTo>
                <a:lnTo>
                  <a:pt x="244" y="194"/>
                </a:lnTo>
                <a:lnTo>
                  <a:pt x="256" y="166"/>
                </a:lnTo>
                <a:lnTo>
                  <a:pt x="270" y="138"/>
                </a:lnTo>
                <a:lnTo>
                  <a:pt x="284" y="112"/>
                </a:lnTo>
                <a:lnTo>
                  <a:pt x="300" y="88"/>
                </a:lnTo>
                <a:lnTo>
                  <a:pt x="320" y="68"/>
                </a:lnTo>
                <a:lnTo>
                  <a:pt x="340" y="48"/>
                </a:lnTo>
                <a:lnTo>
                  <a:pt x="364" y="32"/>
                </a:lnTo>
                <a:lnTo>
                  <a:pt x="388" y="18"/>
                </a:lnTo>
                <a:lnTo>
                  <a:pt x="416" y="8"/>
                </a:lnTo>
                <a:lnTo>
                  <a:pt x="446" y="2"/>
                </a:lnTo>
                <a:lnTo>
                  <a:pt x="480" y="0"/>
                </a:lnTo>
                <a:lnTo>
                  <a:pt x="516" y="0"/>
                </a:lnTo>
                <a:lnTo>
                  <a:pt x="516" y="0"/>
                </a:lnTo>
                <a:lnTo>
                  <a:pt x="532" y="2"/>
                </a:lnTo>
                <a:lnTo>
                  <a:pt x="546" y="6"/>
                </a:lnTo>
                <a:lnTo>
                  <a:pt x="560" y="10"/>
                </a:lnTo>
                <a:lnTo>
                  <a:pt x="574" y="16"/>
                </a:lnTo>
                <a:lnTo>
                  <a:pt x="586" y="22"/>
                </a:lnTo>
                <a:lnTo>
                  <a:pt x="598" y="30"/>
                </a:lnTo>
                <a:lnTo>
                  <a:pt x="620" y="50"/>
                </a:lnTo>
                <a:lnTo>
                  <a:pt x="640" y="74"/>
                </a:lnTo>
                <a:lnTo>
                  <a:pt x="658" y="100"/>
                </a:lnTo>
                <a:lnTo>
                  <a:pt x="674" y="130"/>
                </a:lnTo>
                <a:lnTo>
                  <a:pt x="690" y="162"/>
                </a:lnTo>
                <a:lnTo>
                  <a:pt x="690" y="162"/>
                </a:lnTo>
                <a:lnTo>
                  <a:pt x="708" y="200"/>
                </a:lnTo>
                <a:lnTo>
                  <a:pt x="728" y="234"/>
                </a:lnTo>
                <a:lnTo>
                  <a:pt x="770" y="302"/>
                </a:lnTo>
                <a:lnTo>
                  <a:pt x="812" y="366"/>
                </a:lnTo>
                <a:lnTo>
                  <a:pt x="858" y="432"/>
                </a:lnTo>
                <a:lnTo>
                  <a:pt x="858" y="432"/>
                </a:lnTo>
                <a:lnTo>
                  <a:pt x="852" y="426"/>
                </a:lnTo>
                <a:lnTo>
                  <a:pt x="846" y="420"/>
                </a:lnTo>
                <a:lnTo>
                  <a:pt x="838" y="404"/>
                </a:lnTo>
                <a:lnTo>
                  <a:pt x="832" y="398"/>
                </a:lnTo>
                <a:lnTo>
                  <a:pt x="828" y="390"/>
                </a:lnTo>
                <a:lnTo>
                  <a:pt x="820" y="386"/>
                </a:lnTo>
                <a:lnTo>
                  <a:pt x="810" y="384"/>
                </a:lnTo>
                <a:lnTo>
                  <a:pt x="810" y="384"/>
                </a:lnTo>
                <a:lnTo>
                  <a:pt x="812" y="402"/>
                </a:lnTo>
                <a:lnTo>
                  <a:pt x="816" y="418"/>
                </a:lnTo>
                <a:lnTo>
                  <a:pt x="822" y="434"/>
                </a:lnTo>
                <a:lnTo>
                  <a:pt x="830" y="448"/>
                </a:lnTo>
                <a:lnTo>
                  <a:pt x="850" y="472"/>
                </a:lnTo>
                <a:lnTo>
                  <a:pt x="870" y="496"/>
                </a:lnTo>
                <a:lnTo>
                  <a:pt x="880" y="510"/>
                </a:lnTo>
                <a:lnTo>
                  <a:pt x="888" y="522"/>
                </a:lnTo>
                <a:lnTo>
                  <a:pt x="894" y="536"/>
                </a:lnTo>
                <a:lnTo>
                  <a:pt x="900" y="552"/>
                </a:lnTo>
                <a:lnTo>
                  <a:pt x="902" y="568"/>
                </a:lnTo>
                <a:lnTo>
                  <a:pt x="904" y="586"/>
                </a:lnTo>
                <a:lnTo>
                  <a:pt x="900" y="606"/>
                </a:lnTo>
                <a:lnTo>
                  <a:pt x="894" y="630"/>
                </a:lnTo>
                <a:lnTo>
                  <a:pt x="894" y="6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78D8F4-37BD-4F60-84B9-6B10679DBDBE}"/>
              </a:ext>
            </a:extLst>
          </p:cNvPr>
          <p:cNvSpPr txBox="1"/>
          <p:nvPr/>
        </p:nvSpPr>
        <p:spPr>
          <a:xfrm>
            <a:off x="876300" y="5544431"/>
            <a:ext cx="1743075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v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uppevejle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B91DB1-879E-41B0-8597-869F529FBF40}"/>
              </a:ext>
            </a:extLst>
          </p:cNvPr>
          <p:cNvSpPr txBox="1"/>
          <p:nvPr/>
        </p:nvSpPr>
        <p:spPr>
          <a:xfrm>
            <a:off x="3662499" y="5544431"/>
            <a:ext cx="1743074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v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uppevejled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81EDD0-F4F9-42CF-BA14-6F89AD55B26D}"/>
              </a:ext>
            </a:extLst>
          </p:cNvPr>
          <p:cNvSpPr txBox="1"/>
          <p:nvPr/>
        </p:nvSpPr>
        <p:spPr>
          <a:xfrm rot="18712180">
            <a:off x="3736249" y="4652482"/>
            <a:ext cx="1447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rPr>
              <a:t>Indsæt bille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71C856-1F1E-492E-8CCF-C68C18AA0186}"/>
              </a:ext>
            </a:extLst>
          </p:cNvPr>
          <p:cNvSpPr txBox="1"/>
          <p:nvPr/>
        </p:nvSpPr>
        <p:spPr>
          <a:xfrm rot="18712180">
            <a:off x="1023938" y="4726285"/>
            <a:ext cx="1447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rPr>
              <a:t>Indsæt billede</a:t>
            </a:r>
          </a:p>
        </p:txBody>
      </p:sp>
    </p:spTree>
    <p:extLst>
      <p:ext uri="{BB962C8B-B14F-4D97-AF65-F5344CB8AC3E}">
        <p14:creationId xmlns:p14="http://schemas.microsoft.com/office/powerpoint/2010/main" val="1401908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xVnsAUmUu6AbGsL.hnQ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blank.potx" id="{1C6BE198-1551-4D5D-A168-E78818280D74}" vid="{BED2DEA9-1F4A-46C7-B421-77F6E3F9A41C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72</TotalTime>
  <Words>333</Words>
  <Application>Microsoft Office PowerPoint</Application>
  <PresentationFormat>Widescreen</PresentationFormat>
  <Paragraphs>49</Paragraphs>
  <Slides>3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7" baseType="lpstr">
      <vt:lpstr>Arial</vt:lpstr>
      <vt:lpstr>Georgia</vt:lpstr>
      <vt:lpstr>PwC</vt:lpstr>
      <vt:lpstr>think-cell Slide</vt:lpstr>
      <vt:lpstr>PowerPoint-præsentation</vt:lpstr>
      <vt:lpstr>PowerPoint-præsentation</vt:lpstr>
      <vt:lpstr>PowerPoint-præsentation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Line Vistisen Liebst</dc:creator>
  <cp:keywords/>
  <dc:description/>
  <cp:lastModifiedBy>Aksel Raahauge Karlsson</cp:lastModifiedBy>
  <cp:revision>88</cp:revision>
  <cp:lastPrinted>2022-01-06T11:56:07Z</cp:lastPrinted>
  <dcterms:created xsi:type="dcterms:W3CDTF">2020-06-30T07:52:13Z</dcterms:created>
  <dcterms:modified xsi:type="dcterms:W3CDTF">2023-01-24T15:54:5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</Properties>
</file>